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5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3" r:id="rId1"/>
    <p:sldMasterId id="2147483683" r:id="rId2"/>
    <p:sldMasterId id="2147483693" r:id="rId3"/>
    <p:sldMasterId id="2147483703" r:id="rId4"/>
    <p:sldMasterId id="2147483713" r:id="rId5"/>
  </p:sldMasterIdLst>
  <p:notesMasterIdLst>
    <p:notesMasterId r:id="rId8"/>
  </p:notesMasterIdLst>
  <p:handoutMasterIdLst>
    <p:handoutMasterId r:id="rId9"/>
  </p:handoutMasterIdLst>
  <p:sldIdLst>
    <p:sldId id="294" r:id="rId6"/>
    <p:sldId id="271" r:id="rId7"/>
  </p:sldIdLst>
  <p:sldSz cx="10691813" cy="7559675"/>
  <p:notesSz cx="6858000" cy="9144000"/>
  <p:custDataLst>
    <p:tags r:id="rId10"/>
  </p:custDataLst>
  <p:defaultTextStyle>
    <a:defPPr>
      <a:defRPr lang="cs-CZ"/>
    </a:defPPr>
    <a:lvl1pPr marL="0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372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2742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114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5487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6858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8229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49601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0973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4172" userDrawn="1">
          <p15:clr>
            <a:srgbClr val="A4A3A4"/>
          </p15:clr>
        </p15:guide>
        <p15:guide id="3" orient="horz" pos="907" userDrawn="1">
          <p15:clr>
            <a:srgbClr val="A4A3A4"/>
          </p15:clr>
        </p15:guide>
        <p15:guide id="4" pos="216" userDrawn="1">
          <p15:clr>
            <a:srgbClr val="A4A3A4"/>
          </p15:clr>
        </p15:guide>
        <p15:guide id="5" pos="651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12C8C85-51F0-491E-9774-3900AFEF0FD7}" styleName="Světlý styl 2 – zvýraznění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0A1B5D5-9B99-4C35-A422-299274C87663}" styleName="Střední styl 1 – zvýraznění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480" autoAdjust="0"/>
    <p:restoredTop sz="95992" autoAdjust="0"/>
  </p:normalViewPr>
  <p:slideViewPr>
    <p:cSldViewPr snapToGrid="0">
      <p:cViewPr varScale="1">
        <p:scale>
          <a:sx n="104" d="100"/>
          <a:sy n="104" d="100"/>
        </p:scale>
        <p:origin x="1332" y="114"/>
      </p:cViewPr>
      <p:guideLst>
        <p:guide orient="horz" pos="4172"/>
        <p:guide orient="horz" pos="907"/>
        <p:guide pos="216"/>
        <p:guide pos="6519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Grid="0">
      <p:cViewPr>
        <p:scale>
          <a:sx n="75" d="100"/>
          <a:sy n="75" d="100"/>
        </p:scale>
        <p:origin x="2938" y="13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0" Type="http://schemas.openxmlformats.org/officeDocument/2006/relationships/tags" Target="tags/tag1.xml"/><Relationship Id="rId4" Type="http://schemas.openxmlformats.org/officeDocument/2006/relationships/slideMaster" Target="slideMasters/slideMaster4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400000" cy="324000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200"/>
            </a:lvl1pPr>
          </a:lstStyle>
          <a:p>
            <a:endParaRPr lang="cs-CZ" sz="900" dirty="0">
              <a:latin typeface="SKODA Next" panose="020B0504020603020204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5886000" y="0"/>
            <a:ext cx="972000" cy="324000"/>
          </a:xfrm>
          <a:prstGeom prst="rect">
            <a:avLst/>
          </a:prstGeom>
        </p:spPr>
        <p:txBody>
          <a:bodyPr vert="horz" lIns="0" tIns="0" rIns="0" bIns="0" rtlCol="0"/>
          <a:lstStyle>
            <a:lvl1pPr algn="r">
              <a:defRPr sz="1200"/>
            </a:lvl1pPr>
          </a:lstStyle>
          <a:p>
            <a:fld id="{839AC645-426F-485D-BF89-D5B06960D6A1}" type="datetimeFigureOut">
              <a:rPr lang="cs-CZ" sz="900" smtClean="0">
                <a:latin typeface="SKODA Next" panose="020B0504020603020204" pitchFamily="34" charset="0"/>
                <a:ea typeface="Verdana" pitchFamily="34" charset="0"/>
                <a:cs typeface="Verdana" pitchFamily="34" charset="0"/>
              </a:rPr>
              <a:pPr/>
              <a:t>27.12.2019</a:t>
            </a:fld>
            <a:endParaRPr lang="cs-CZ" sz="900" dirty="0">
              <a:latin typeface="SKODA Next" panose="020B0504020603020204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0" y="8820000"/>
            <a:ext cx="5400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/>
            </a:lvl1pPr>
          </a:lstStyle>
          <a:p>
            <a:endParaRPr lang="cs-CZ" sz="900" dirty="0">
              <a:latin typeface="SKODA Next" panose="020B0504020603020204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5886000" y="8820000"/>
            <a:ext cx="972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fld id="{D4CF9FA0-453B-44E2-87EE-486FCDD97806}" type="slidenum">
              <a:rPr lang="cs-CZ" sz="900" smtClean="0">
                <a:latin typeface="SKODA Next" panose="020B0504020603020204" pitchFamily="34" charset="0"/>
                <a:ea typeface="Verdana" pitchFamily="34" charset="0"/>
                <a:cs typeface="Verdana" pitchFamily="34" charset="0"/>
              </a:rPr>
              <a:pPr/>
              <a:t>‹#›</a:t>
            </a:fld>
            <a:endParaRPr lang="cs-CZ" sz="900" dirty="0">
              <a:latin typeface="SKODA Next" panose="020B0504020603020204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23872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400000" cy="324000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900"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endParaRPr lang="cs-CZ" dirty="0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5886000" y="0"/>
            <a:ext cx="972000" cy="324000"/>
          </a:xfrm>
          <a:prstGeom prst="rect">
            <a:avLst/>
          </a:prstGeom>
        </p:spPr>
        <p:txBody>
          <a:bodyPr vert="horz" lIns="0" tIns="0" rIns="0" bIns="0" rtlCol="0"/>
          <a:lstStyle>
            <a:lvl1pPr algn="r">
              <a:defRPr sz="900"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3DF265A4-7ECE-4568-9246-39EF07969DAF}" type="datetimeFigureOut">
              <a:rPr lang="cs-CZ" smtClean="0"/>
              <a:pPr/>
              <a:t>27.12.2019</a:t>
            </a:fld>
            <a:endParaRPr lang="cs-CZ" dirty="0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1004888" y="685800"/>
            <a:ext cx="48482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 noProof="0" dirty="0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820000"/>
            <a:ext cx="5400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900"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5886000" y="8820000"/>
            <a:ext cx="972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7DCD363E-0387-4F03-A368-7EC1FE0C90C6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128372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179946" algn="l" defTabSz="1042742" rtl="0" eaLnBrk="1" latinLnBrk="0" hangingPunct="1">
      <a:buClr>
        <a:schemeClr val="tx1"/>
      </a:buClr>
      <a:buFont typeface="Wingdings" panose="05000000000000000000" pitchFamily="2" charset="2"/>
      <a:buChar char="§"/>
      <a:defRPr sz="900" kern="1200">
        <a:solidFill>
          <a:schemeClr val="tx1"/>
        </a:solidFill>
        <a:latin typeface="SKODA Next" panose="020B0504020603020204" pitchFamily="34" charset="0"/>
        <a:ea typeface="Verdana" pitchFamily="34" charset="0"/>
        <a:cs typeface="Verdana" pitchFamily="34" charset="0"/>
      </a:defRPr>
    </a:lvl1pPr>
    <a:lvl2pPr marL="179946" indent="179946" algn="l" defTabSz="1042742" rtl="0" eaLnBrk="1" latinLnBrk="0" hangingPunct="1">
      <a:buClr>
        <a:schemeClr val="tx1"/>
      </a:buClr>
      <a:buFont typeface="Wingdings" panose="05000000000000000000" pitchFamily="2" charset="2"/>
      <a:buChar char="§"/>
      <a:defRPr sz="900" kern="1200">
        <a:solidFill>
          <a:schemeClr val="tx1"/>
        </a:solidFill>
        <a:latin typeface="SKODA Next" panose="020B0504020603020204" pitchFamily="34" charset="0"/>
        <a:ea typeface="Verdana" pitchFamily="34" charset="0"/>
        <a:cs typeface="Verdana" pitchFamily="34" charset="0"/>
      </a:defRPr>
    </a:lvl2pPr>
    <a:lvl3pPr marL="359892" indent="179946" algn="l" defTabSz="1042742" rtl="0" eaLnBrk="1" latinLnBrk="0" hangingPunct="1">
      <a:buClr>
        <a:schemeClr val="tx1"/>
      </a:buClr>
      <a:buFont typeface="Wingdings" panose="05000000000000000000" pitchFamily="2" charset="2"/>
      <a:buChar char="§"/>
      <a:defRPr sz="900" kern="1200">
        <a:solidFill>
          <a:schemeClr val="tx1"/>
        </a:solidFill>
        <a:latin typeface="SKODA Next" panose="020B0504020603020204" pitchFamily="34" charset="0"/>
        <a:ea typeface="Verdana" pitchFamily="34" charset="0"/>
        <a:cs typeface="Verdana" pitchFamily="34" charset="0"/>
      </a:defRPr>
    </a:lvl3pPr>
    <a:lvl4pPr marL="539838" indent="179946" algn="l" defTabSz="1042742" rtl="0" eaLnBrk="1" latinLnBrk="0" hangingPunct="1">
      <a:buClr>
        <a:schemeClr val="tx1"/>
      </a:buClr>
      <a:buFont typeface="Wingdings" panose="05000000000000000000" pitchFamily="2" charset="2"/>
      <a:buChar char="§"/>
      <a:defRPr sz="900" kern="1200">
        <a:solidFill>
          <a:schemeClr val="tx1"/>
        </a:solidFill>
        <a:latin typeface="SKODA Next" panose="020B0504020603020204" pitchFamily="34" charset="0"/>
        <a:ea typeface="Verdana" pitchFamily="34" charset="0"/>
        <a:cs typeface="Verdana" pitchFamily="34" charset="0"/>
      </a:defRPr>
    </a:lvl4pPr>
    <a:lvl5pPr marL="719784" indent="179946" algn="l" defTabSz="1042742" rtl="0" eaLnBrk="1" latinLnBrk="0" hangingPunct="1">
      <a:buClr>
        <a:schemeClr val="tx1"/>
      </a:buClr>
      <a:buFont typeface="Wingdings" panose="05000000000000000000" pitchFamily="2" charset="2"/>
      <a:buChar char="§"/>
      <a:defRPr sz="900" kern="1200">
        <a:solidFill>
          <a:schemeClr val="tx1"/>
        </a:solidFill>
        <a:latin typeface="SKODA Next" panose="020B0504020603020204" pitchFamily="34" charset="0"/>
        <a:ea typeface="Verdana" pitchFamily="34" charset="0"/>
        <a:cs typeface="Verdana" pitchFamily="34" charset="0"/>
      </a:defRPr>
    </a:lvl5pPr>
    <a:lvl6pPr marL="2606858" algn="l" defTabSz="1042742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8229" algn="l" defTabSz="1042742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49601" algn="l" defTabSz="1042742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0973" algn="l" defTabSz="1042742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CD363E-0387-4F03-A368-7EC1FE0C90C6}" type="slidenum">
              <a:rPr lang="en-GB" noProof="0" smtClean="0"/>
              <a:pPr/>
              <a:t>2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9795978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.gif"/><Relationship Id="rId4" Type="http://schemas.openxmlformats.org/officeDocument/2006/relationships/image" Target="../media/image3.jp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4.gif"/><Relationship Id="rId4" Type="http://schemas.openxmlformats.org/officeDocument/2006/relationships/image" Target="../media/image3.jp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4.gif"/><Relationship Id="rId4" Type="http://schemas.openxmlformats.org/officeDocument/2006/relationships/image" Target="../media/image5.jp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4.gif"/><Relationship Id="rId4" Type="http://schemas.openxmlformats.org/officeDocument/2006/relationships/image" Target="../media/image5.jp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4.gif"/><Relationship Id="rId4" Type="http://schemas.openxmlformats.org/officeDocument/2006/relationships/image" Target="../media/image3.jp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4.gif"/><Relationship Id="rId4" Type="http://schemas.openxmlformats.org/officeDocument/2006/relationships/image" Target="../media/image5.jp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4.gif"/><Relationship Id="rId4" Type="http://schemas.openxmlformats.org/officeDocument/2006/relationships/image" Target="../media/image3.jp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4.gif"/><Relationship Id="rId4" Type="http://schemas.openxmlformats.org/officeDocument/2006/relationships/image" Target="../media/image5.jp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image" Target="../media/image4.gif"/><Relationship Id="rId4" Type="http://schemas.openxmlformats.org/officeDocument/2006/relationships/image" Target="../media/image3.jp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image" Target="../media/image4.gif"/><Relationship Id="rId4" Type="http://schemas.openxmlformats.org/officeDocument/2006/relationships/image" Target="../media/image5.jp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Skupina 19"/>
          <p:cNvGrpSpPr/>
          <p:nvPr userDrawn="1"/>
        </p:nvGrpSpPr>
        <p:grpSpPr>
          <a:xfrm>
            <a:off x="-1" y="-1905"/>
            <a:ext cx="10691994" cy="5870435"/>
            <a:chOff x="-1" y="-1905"/>
            <a:chExt cx="10691994" cy="5870435"/>
          </a:xfrm>
        </p:grpSpPr>
        <p:sp>
          <p:nvSpPr>
            <p:cNvPr id="28" name="Volný tvar 27"/>
            <p:cNvSpPr/>
            <p:nvPr userDrawn="1"/>
          </p:nvSpPr>
          <p:spPr>
            <a:xfrm>
              <a:off x="8671948" y="0"/>
              <a:ext cx="2019872" cy="3165168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9594" h="3165833">
                  <a:moveTo>
                    <a:pt x="2009594" y="0"/>
                  </a:moveTo>
                  <a:lnTo>
                    <a:pt x="860930" y="0"/>
                  </a:lnTo>
                  <a:lnTo>
                    <a:pt x="0" y="1896183"/>
                  </a:lnTo>
                  <a:lnTo>
                    <a:pt x="641930" y="3165833"/>
                  </a:lnTo>
                  <a:lnTo>
                    <a:pt x="2008576" y="3165833"/>
                  </a:lnTo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Volný tvar 28"/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Volný tvar 29"/>
            <p:cNvSpPr/>
            <p:nvPr userDrawn="1"/>
          </p:nvSpPr>
          <p:spPr>
            <a:xfrm>
              <a:off x="2381428" y="0"/>
              <a:ext cx="7155030" cy="1892480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56091" h="1884236">
                  <a:moveTo>
                    <a:pt x="6295220" y="1884236"/>
                  </a:moveTo>
                  <a:lnTo>
                    <a:pt x="7156091" y="0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Volný tvar 30"/>
            <p:cNvSpPr/>
            <p:nvPr userDrawn="1"/>
          </p:nvSpPr>
          <p:spPr>
            <a:xfrm>
              <a:off x="-1" y="-1905"/>
              <a:ext cx="8678465" cy="4438313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1671" h="4439245">
                  <a:moveTo>
                    <a:pt x="8671671" y="1894278"/>
                  </a:moveTo>
                  <a:lnTo>
                    <a:pt x="2373282" y="0"/>
                  </a:lnTo>
                  <a:lnTo>
                    <a:pt x="0" y="1905"/>
                  </a:lnTo>
                  <a:lnTo>
                    <a:pt x="0" y="4439245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2" name="Obrázek 31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4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78865" cy="540000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</a:t>
            </a:r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8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Font typeface="Wingdings" panose="05000000000000000000" pitchFamily="2" charset="2"/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Jméno</a:t>
            </a:r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8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Font typeface="Wingdings" panose="05000000000000000000" pitchFamily="2" charset="2"/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/>
              <a:t>XX.XX.2017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49" y="2358000"/>
            <a:ext cx="6550641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Dodatečné informace</a:t>
            </a:r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Font typeface="Wingdings" panose="05000000000000000000" pitchFamily="2" charset="2"/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Oddělení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2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8146547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cs-CZ" noProof="0" dirty="0"/>
              <a:t>Další kapitola</a:t>
            </a:r>
          </a:p>
        </p:txBody>
      </p:sp>
    </p:spTree>
    <p:extLst>
      <p:ext uri="{BB962C8B-B14F-4D97-AF65-F5344CB8AC3E}">
        <p14:creationId xmlns:p14="http://schemas.microsoft.com/office/powerpoint/2010/main" val="752776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Skupina 19"/>
          <p:cNvGrpSpPr/>
          <p:nvPr userDrawn="1"/>
        </p:nvGrpSpPr>
        <p:grpSpPr>
          <a:xfrm>
            <a:off x="-1" y="-1905"/>
            <a:ext cx="10691994" cy="5870435"/>
            <a:chOff x="-1" y="-1905"/>
            <a:chExt cx="10691994" cy="5870435"/>
          </a:xfrm>
        </p:grpSpPr>
        <p:sp>
          <p:nvSpPr>
            <p:cNvPr id="28" name="Volný tvar 27"/>
            <p:cNvSpPr/>
            <p:nvPr userDrawn="1"/>
          </p:nvSpPr>
          <p:spPr>
            <a:xfrm>
              <a:off x="8671948" y="0"/>
              <a:ext cx="2019872" cy="3165168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9594" h="3165833">
                  <a:moveTo>
                    <a:pt x="2009594" y="0"/>
                  </a:moveTo>
                  <a:lnTo>
                    <a:pt x="860930" y="0"/>
                  </a:lnTo>
                  <a:lnTo>
                    <a:pt x="0" y="1896183"/>
                  </a:lnTo>
                  <a:lnTo>
                    <a:pt x="641930" y="3165833"/>
                  </a:lnTo>
                  <a:lnTo>
                    <a:pt x="2008576" y="3165833"/>
                  </a:lnTo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Volný tvar 28"/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Volný tvar 29"/>
            <p:cNvSpPr/>
            <p:nvPr userDrawn="1"/>
          </p:nvSpPr>
          <p:spPr>
            <a:xfrm>
              <a:off x="2381428" y="0"/>
              <a:ext cx="7155030" cy="1892480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56091" h="1884236">
                  <a:moveTo>
                    <a:pt x="6295220" y="1884236"/>
                  </a:moveTo>
                  <a:lnTo>
                    <a:pt x="7156091" y="0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Volný tvar 30"/>
            <p:cNvSpPr/>
            <p:nvPr userDrawn="1"/>
          </p:nvSpPr>
          <p:spPr>
            <a:xfrm>
              <a:off x="-1" y="-1905"/>
              <a:ext cx="8678465" cy="4438313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1671" h="4439245">
                  <a:moveTo>
                    <a:pt x="8671671" y="1894278"/>
                  </a:moveTo>
                  <a:lnTo>
                    <a:pt x="2373282" y="0"/>
                  </a:lnTo>
                  <a:lnTo>
                    <a:pt x="0" y="1905"/>
                  </a:lnTo>
                  <a:lnTo>
                    <a:pt x="0" y="4439245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2" name="Obrázek 31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914220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4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78865" cy="539887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</a:t>
            </a:r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9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Jméno</a:t>
            </a:r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9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/>
              <a:t>XX.XX.2017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49" y="2358000"/>
            <a:ext cx="6550641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Dodatečné informace</a:t>
            </a:r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Oddělení</a:t>
            </a:r>
          </a:p>
        </p:txBody>
      </p:sp>
      <p:sp>
        <p:nvSpPr>
          <p:cNvPr id="22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 dirty="0"/>
          </a:p>
        </p:txBody>
      </p:sp>
      <p:sp>
        <p:nvSpPr>
          <p:cNvPr id="23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, oddělení, jméno, datum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gh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Skupina 19"/>
          <p:cNvGrpSpPr/>
          <p:nvPr userDrawn="1"/>
        </p:nvGrpSpPr>
        <p:grpSpPr>
          <a:xfrm>
            <a:off x="-1" y="-1905"/>
            <a:ext cx="10691994" cy="5870435"/>
            <a:chOff x="-1" y="-1905"/>
            <a:chExt cx="10691994" cy="5870435"/>
          </a:xfrm>
        </p:grpSpPr>
        <p:sp>
          <p:nvSpPr>
            <p:cNvPr id="28" name="Volný tvar 27"/>
            <p:cNvSpPr/>
            <p:nvPr userDrawn="1"/>
          </p:nvSpPr>
          <p:spPr>
            <a:xfrm>
              <a:off x="8671948" y="0"/>
              <a:ext cx="2019872" cy="3165168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9594" h="3165833">
                  <a:moveTo>
                    <a:pt x="2009594" y="0"/>
                  </a:moveTo>
                  <a:lnTo>
                    <a:pt x="860930" y="0"/>
                  </a:lnTo>
                  <a:lnTo>
                    <a:pt x="0" y="1896183"/>
                  </a:lnTo>
                  <a:lnTo>
                    <a:pt x="641930" y="3165833"/>
                  </a:lnTo>
                  <a:lnTo>
                    <a:pt x="2008576" y="3165833"/>
                  </a:lnTo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Volný tvar 28"/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Volný tvar 29"/>
            <p:cNvSpPr/>
            <p:nvPr userDrawn="1"/>
          </p:nvSpPr>
          <p:spPr>
            <a:xfrm>
              <a:off x="2381428" y="0"/>
              <a:ext cx="7155030" cy="1892480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56091" h="1884236">
                  <a:moveTo>
                    <a:pt x="6295220" y="1884236"/>
                  </a:moveTo>
                  <a:lnTo>
                    <a:pt x="7156091" y="0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95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Volný tvar 30"/>
            <p:cNvSpPr/>
            <p:nvPr userDrawn="1"/>
          </p:nvSpPr>
          <p:spPr>
            <a:xfrm>
              <a:off x="-1" y="-1905"/>
              <a:ext cx="8678465" cy="4438313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1671" h="4439245">
                  <a:moveTo>
                    <a:pt x="8671671" y="1894278"/>
                  </a:moveTo>
                  <a:lnTo>
                    <a:pt x="2373282" y="0"/>
                  </a:lnTo>
                  <a:lnTo>
                    <a:pt x="0" y="1905"/>
                  </a:lnTo>
                  <a:lnTo>
                    <a:pt x="0" y="4439245"/>
                  </a:lnTo>
                </a:path>
              </a:pathLst>
            </a:custGeom>
            <a:solidFill>
              <a:schemeClr val="bg1">
                <a:lumMod val="95000"/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2" name="Obrázek 31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0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78865" cy="539887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bg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</a:t>
            </a:r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9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Jméno</a:t>
            </a:r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9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/>
              <a:t>XX.XX.2017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50" y="2358000"/>
            <a:ext cx="6550076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Dodatečné informace</a:t>
            </a:r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Oddělení</a:t>
            </a:r>
          </a:p>
        </p:txBody>
      </p:sp>
      <p:sp>
        <p:nvSpPr>
          <p:cNvPr id="22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 dirty="0"/>
          </a:p>
        </p:txBody>
      </p:sp>
      <p:sp>
        <p:nvSpPr>
          <p:cNvPr id="23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, oddělení, jméno, datum</a:t>
            </a:r>
          </a:p>
        </p:txBody>
      </p:sp>
    </p:spTree>
    <p:extLst>
      <p:ext uri="{BB962C8B-B14F-4D97-AF65-F5344CB8AC3E}">
        <p14:creationId xmlns:p14="http://schemas.microsoft.com/office/powerpoint/2010/main" val="14498833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 userDrawn="1">
            <p:ph idx="1" hasCustomPrompt="1"/>
          </p:nvPr>
        </p:nvSpPr>
        <p:spPr>
          <a:xfrm>
            <a:off x="342850" y="1439561"/>
            <a:ext cx="10006115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51" y="1439561"/>
            <a:ext cx="4823697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  <p:sp>
        <p:nvSpPr>
          <p:cNvPr id="9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5525268" y="1439561"/>
            <a:ext cx="4823697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1912841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49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  <p:sp>
        <p:nvSpPr>
          <p:cNvPr id="10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3798324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11" name="Zástupný symbol pro obsah 2"/>
          <p:cNvSpPr>
            <a:spLocks noGrp="1"/>
          </p:cNvSpPr>
          <p:nvPr>
            <p:ph idx="14" hasCustomPrompt="1"/>
          </p:nvPr>
        </p:nvSpPr>
        <p:spPr>
          <a:xfrm>
            <a:off x="7253800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41331897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9" name="Zástupný symbol pro text 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50" y="1439560"/>
            <a:ext cx="3096065" cy="5183048"/>
          </a:xfrm>
        </p:spPr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797436" y="1439561"/>
            <a:ext cx="6551028" cy="5183049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5" name="Zástupný symbol pro text 28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4" name="Nadpis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1949" y="1439562"/>
            <a:ext cx="10006515" cy="5183685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3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0691813" cy="6964537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</p:spTree>
    <p:extLst>
      <p:ext uri="{BB962C8B-B14F-4D97-AF65-F5344CB8AC3E}">
        <p14:creationId xmlns:p14="http://schemas.microsoft.com/office/powerpoint/2010/main" val="92692688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tli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2850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3" name="Zástupný symbol pro text 12"/>
          <p:cNvSpPr>
            <a:spLocks noGrp="1"/>
          </p:cNvSpPr>
          <p:nvPr>
            <p:ph type="body" sz="quarter" idx="14" hasCustomPrompt="1"/>
          </p:nvPr>
        </p:nvSpPr>
        <p:spPr>
          <a:xfrm>
            <a:off x="342850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4" name="Zástupný symbol pro obrázek 10"/>
          <p:cNvSpPr>
            <a:spLocks noGrp="1"/>
          </p:cNvSpPr>
          <p:nvPr>
            <p:ph type="pic" sz="quarter" idx="15" hasCustomPrompt="1"/>
          </p:nvPr>
        </p:nvSpPr>
        <p:spPr>
          <a:xfrm>
            <a:off x="342850" y="4139132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5" name="Zástupný symbol pro text 12"/>
          <p:cNvSpPr>
            <a:spLocks noGrp="1"/>
          </p:cNvSpPr>
          <p:nvPr>
            <p:ph type="body" sz="quarter" idx="16" hasCustomPrompt="1"/>
          </p:nvPr>
        </p:nvSpPr>
        <p:spPr>
          <a:xfrm>
            <a:off x="342850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6" name="Zástupný symbol pro obrázek 10"/>
          <p:cNvSpPr>
            <a:spLocks noGrp="1"/>
          </p:cNvSpPr>
          <p:nvPr>
            <p:ph type="pic" sz="quarter" idx="17" hasCustomPrompt="1"/>
          </p:nvPr>
        </p:nvSpPr>
        <p:spPr>
          <a:xfrm>
            <a:off x="5525268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7" name="Zástupný symbol pro text 12"/>
          <p:cNvSpPr>
            <a:spLocks noGrp="1"/>
          </p:cNvSpPr>
          <p:nvPr>
            <p:ph type="body" sz="quarter" idx="18" hasCustomPrompt="1"/>
          </p:nvPr>
        </p:nvSpPr>
        <p:spPr>
          <a:xfrm>
            <a:off x="5525268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8" name="Zástupný symbol pro obrázek 10"/>
          <p:cNvSpPr>
            <a:spLocks noGrp="1"/>
          </p:cNvSpPr>
          <p:nvPr>
            <p:ph type="pic" sz="quarter" idx="19" hasCustomPrompt="1"/>
          </p:nvPr>
        </p:nvSpPr>
        <p:spPr>
          <a:xfrm>
            <a:off x="5525268" y="4139132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9" name="Zástupný symbol pro text 12"/>
          <p:cNvSpPr>
            <a:spLocks noGrp="1"/>
          </p:cNvSpPr>
          <p:nvPr>
            <p:ph type="body" sz="quarter" idx="20" hasCustomPrompt="1"/>
          </p:nvPr>
        </p:nvSpPr>
        <p:spPr>
          <a:xfrm>
            <a:off x="5525268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24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gh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Skupina 19"/>
          <p:cNvGrpSpPr/>
          <p:nvPr userDrawn="1"/>
        </p:nvGrpSpPr>
        <p:grpSpPr>
          <a:xfrm>
            <a:off x="-1" y="-1905"/>
            <a:ext cx="10691994" cy="5870435"/>
            <a:chOff x="-1" y="-1905"/>
            <a:chExt cx="10691994" cy="5870435"/>
          </a:xfrm>
        </p:grpSpPr>
        <p:sp>
          <p:nvSpPr>
            <p:cNvPr id="28" name="Volný tvar 27"/>
            <p:cNvSpPr/>
            <p:nvPr userDrawn="1"/>
          </p:nvSpPr>
          <p:spPr>
            <a:xfrm>
              <a:off x="8671948" y="0"/>
              <a:ext cx="2019872" cy="3165168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9594" h="3165833">
                  <a:moveTo>
                    <a:pt x="2009594" y="0"/>
                  </a:moveTo>
                  <a:lnTo>
                    <a:pt x="860930" y="0"/>
                  </a:lnTo>
                  <a:lnTo>
                    <a:pt x="0" y="1896183"/>
                  </a:lnTo>
                  <a:lnTo>
                    <a:pt x="641930" y="3165833"/>
                  </a:lnTo>
                  <a:lnTo>
                    <a:pt x="2008576" y="3165833"/>
                  </a:lnTo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Volný tvar 28"/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Volný tvar 29"/>
            <p:cNvSpPr/>
            <p:nvPr userDrawn="1"/>
          </p:nvSpPr>
          <p:spPr>
            <a:xfrm>
              <a:off x="2381428" y="0"/>
              <a:ext cx="7155030" cy="1892480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56091" h="1884236">
                  <a:moveTo>
                    <a:pt x="6295220" y="1884236"/>
                  </a:moveTo>
                  <a:lnTo>
                    <a:pt x="7156091" y="0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95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Volný tvar 30"/>
            <p:cNvSpPr/>
            <p:nvPr userDrawn="1"/>
          </p:nvSpPr>
          <p:spPr>
            <a:xfrm>
              <a:off x="-1" y="-1905"/>
              <a:ext cx="8678465" cy="4438313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1671" h="4439245">
                  <a:moveTo>
                    <a:pt x="8671671" y="1894278"/>
                  </a:moveTo>
                  <a:lnTo>
                    <a:pt x="2373282" y="0"/>
                  </a:lnTo>
                  <a:lnTo>
                    <a:pt x="0" y="1905"/>
                  </a:lnTo>
                  <a:lnTo>
                    <a:pt x="0" y="4439245"/>
                  </a:lnTo>
                </a:path>
              </a:pathLst>
            </a:custGeom>
            <a:solidFill>
              <a:schemeClr val="bg1">
                <a:lumMod val="95000"/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2" name="Obrázek 31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6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78865" cy="540000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bg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</a:t>
            </a:r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8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Jméno</a:t>
            </a:r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8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/>
              <a:t>XX.XX.2017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49" y="2358000"/>
            <a:ext cx="6550641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Dodatečné informace</a:t>
            </a:r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Oddělení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2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18842251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cs-CZ" noProof="0" dirty="0"/>
              <a:t>Další kapitola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Skupina 19"/>
          <p:cNvGrpSpPr/>
          <p:nvPr userDrawn="1"/>
        </p:nvGrpSpPr>
        <p:grpSpPr>
          <a:xfrm>
            <a:off x="-1" y="-1905"/>
            <a:ext cx="10691994" cy="5870435"/>
            <a:chOff x="-1" y="-1905"/>
            <a:chExt cx="10691994" cy="5870435"/>
          </a:xfrm>
        </p:grpSpPr>
        <p:sp>
          <p:nvSpPr>
            <p:cNvPr id="28" name="Volný tvar 27"/>
            <p:cNvSpPr/>
            <p:nvPr userDrawn="1"/>
          </p:nvSpPr>
          <p:spPr>
            <a:xfrm>
              <a:off x="8671948" y="0"/>
              <a:ext cx="2019872" cy="3165168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9594" h="3165833">
                  <a:moveTo>
                    <a:pt x="2009594" y="0"/>
                  </a:moveTo>
                  <a:lnTo>
                    <a:pt x="860930" y="0"/>
                  </a:lnTo>
                  <a:lnTo>
                    <a:pt x="0" y="1896183"/>
                  </a:lnTo>
                  <a:lnTo>
                    <a:pt x="641930" y="3165833"/>
                  </a:lnTo>
                  <a:lnTo>
                    <a:pt x="2008576" y="3165833"/>
                  </a:lnTo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Volný tvar 28"/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Volný tvar 29"/>
            <p:cNvSpPr/>
            <p:nvPr userDrawn="1"/>
          </p:nvSpPr>
          <p:spPr>
            <a:xfrm>
              <a:off x="2381428" y="0"/>
              <a:ext cx="7155030" cy="1892480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56091" h="1884236">
                  <a:moveTo>
                    <a:pt x="6295220" y="1884236"/>
                  </a:moveTo>
                  <a:lnTo>
                    <a:pt x="7156091" y="0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Volný tvar 30"/>
            <p:cNvSpPr/>
            <p:nvPr userDrawn="1"/>
          </p:nvSpPr>
          <p:spPr>
            <a:xfrm>
              <a:off x="-1" y="-1905"/>
              <a:ext cx="8678465" cy="4438313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1671" h="4439245">
                  <a:moveTo>
                    <a:pt x="8671671" y="1894278"/>
                  </a:moveTo>
                  <a:lnTo>
                    <a:pt x="2373282" y="0"/>
                  </a:lnTo>
                  <a:lnTo>
                    <a:pt x="0" y="1905"/>
                  </a:lnTo>
                  <a:lnTo>
                    <a:pt x="0" y="4439245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2" name="Obrázek 31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7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78865" cy="539887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</a:t>
            </a:r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9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Jméno</a:t>
            </a:r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8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/>
              <a:t>XX.XX.2017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49" y="2358000"/>
            <a:ext cx="6550641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Dodatečné informace</a:t>
            </a:r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Oddělení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2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0670627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gh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Skupina 19"/>
          <p:cNvGrpSpPr/>
          <p:nvPr userDrawn="1"/>
        </p:nvGrpSpPr>
        <p:grpSpPr>
          <a:xfrm>
            <a:off x="-1" y="-1905"/>
            <a:ext cx="10691994" cy="5870435"/>
            <a:chOff x="-1" y="-1905"/>
            <a:chExt cx="10691994" cy="5870435"/>
          </a:xfrm>
        </p:grpSpPr>
        <p:sp>
          <p:nvSpPr>
            <p:cNvPr id="28" name="Volný tvar 27"/>
            <p:cNvSpPr/>
            <p:nvPr userDrawn="1"/>
          </p:nvSpPr>
          <p:spPr>
            <a:xfrm>
              <a:off x="8671948" y="0"/>
              <a:ext cx="2019872" cy="3165168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9594" h="3165833">
                  <a:moveTo>
                    <a:pt x="2009594" y="0"/>
                  </a:moveTo>
                  <a:lnTo>
                    <a:pt x="860930" y="0"/>
                  </a:lnTo>
                  <a:lnTo>
                    <a:pt x="0" y="1896183"/>
                  </a:lnTo>
                  <a:lnTo>
                    <a:pt x="641930" y="3165833"/>
                  </a:lnTo>
                  <a:lnTo>
                    <a:pt x="2008576" y="3165833"/>
                  </a:lnTo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Volný tvar 28"/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Volný tvar 29"/>
            <p:cNvSpPr/>
            <p:nvPr userDrawn="1"/>
          </p:nvSpPr>
          <p:spPr>
            <a:xfrm>
              <a:off x="2381428" y="0"/>
              <a:ext cx="7155030" cy="1892480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56091" h="1884236">
                  <a:moveTo>
                    <a:pt x="6295220" y="1884236"/>
                  </a:moveTo>
                  <a:lnTo>
                    <a:pt x="7156091" y="0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95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Volný tvar 30"/>
            <p:cNvSpPr/>
            <p:nvPr userDrawn="1"/>
          </p:nvSpPr>
          <p:spPr>
            <a:xfrm>
              <a:off x="-1" y="-1905"/>
              <a:ext cx="8678465" cy="4438313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1671" h="4439245">
                  <a:moveTo>
                    <a:pt x="8671671" y="1894278"/>
                  </a:moveTo>
                  <a:lnTo>
                    <a:pt x="2373282" y="0"/>
                  </a:lnTo>
                  <a:lnTo>
                    <a:pt x="0" y="1905"/>
                  </a:lnTo>
                  <a:lnTo>
                    <a:pt x="0" y="4439245"/>
                  </a:lnTo>
                </a:path>
              </a:pathLst>
            </a:custGeom>
            <a:solidFill>
              <a:schemeClr val="bg1">
                <a:lumMod val="95000"/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2" name="Obrázek 31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4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78865" cy="539887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bg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</a:t>
            </a:r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9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Jméno</a:t>
            </a:r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8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/>
              <a:t>XX.XX.2017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50" y="2358000"/>
            <a:ext cx="6550076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Dodatečné informace</a:t>
            </a:r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Oddělení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2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01078559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50" y="1439561"/>
            <a:ext cx="10006115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41063740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51" y="1439561"/>
            <a:ext cx="4823697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  <p:sp>
        <p:nvSpPr>
          <p:cNvPr id="9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5525268" y="1439561"/>
            <a:ext cx="4823697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832750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49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  <p:sp>
        <p:nvSpPr>
          <p:cNvPr id="10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3798324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11" name="Zástupný symbol pro obsah 2"/>
          <p:cNvSpPr>
            <a:spLocks noGrp="1"/>
          </p:cNvSpPr>
          <p:nvPr>
            <p:ph idx="14" hasCustomPrompt="1"/>
          </p:nvPr>
        </p:nvSpPr>
        <p:spPr>
          <a:xfrm>
            <a:off x="7253800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865673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9" name="Zástupný symbol pro text 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50" y="1439560"/>
            <a:ext cx="3096065" cy="5183048"/>
          </a:xfrm>
        </p:spPr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797436" y="1439560"/>
            <a:ext cx="6551028" cy="5183048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5" name="Zástupný symbol pro text 28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4" name="Nadpis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07700264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1949" y="1439562"/>
            <a:ext cx="10006515" cy="5183685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3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289391142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0691813" cy="6964537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</p:spTree>
    <p:extLst>
      <p:ext uri="{BB962C8B-B14F-4D97-AF65-F5344CB8AC3E}">
        <p14:creationId xmlns:p14="http://schemas.microsoft.com/office/powerpoint/2010/main" val="72607448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tli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2850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3" name="Zástupný symbol pro text 12"/>
          <p:cNvSpPr>
            <a:spLocks noGrp="1"/>
          </p:cNvSpPr>
          <p:nvPr>
            <p:ph type="body" sz="quarter" idx="14" hasCustomPrompt="1"/>
          </p:nvPr>
        </p:nvSpPr>
        <p:spPr>
          <a:xfrm>
            <a:off x="342850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4" name="Zástupný symbol pro obrázek 10"/>
          <p:cNvSpPr>
            <a:spLocks noGrp="1"/>
          </p:cNvSpPr>
          <p:nvPr>
            <p:ph type="pic" sz="quarter" idx="15" hasCustomPrompt="1"/>
          </p:nvPr>
        </p:nvSpPr>
        <p:spPr>
          <a:xfrm>
            <a:off x="342850" y="4139132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5" name="Zástupný symbol pro text 12"/>
          <p:cNvSpPr>
            <a:spLocks noGrp="1"/>
          </p:cNvSpPr>
          <p:nvPr>
            <p:ph type="body" sz="quarter" idx="16" hasCustomPrompt="1"/>
          </p:nvPr>
        </p:nvSpPr>
        <p:spPr>
          <a:xfrm>
            <a:off x="342850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6" name="Zástupný symbol pro obrázek 10"/>
          <p:cNvSpPr>
            <a:spLocks noGrp="1"/>
          </p:cNvSpPr>
          <p:nvPr>
            <p:ph type="pic" sz="quarter" idx="17" hasCustomPrompt="1"/>
          </p:nvPr>
        </p:nvSpPr>
        <p:spPr>
          <a:xfrm>
            <a:off x="5525268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7" name="Zástupný symbol pro text 12"/>
          <p:cNvSpPr>
            <a:spLocks noGrp="1"/>
          </p:cNvSpPr>
          <p:nvPr>
            <p:ph type="body" sz="quarter" idx="18" hasCustomPrompt="1"/>
          </p:nvPr>
        </p:nvSpPr>
        <p:spPr>
          <a:xfrm>
            <a:off x="5525268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8" name="Zástupný symbol pro obrázek 10"/>
          <p:cNvSpPr>
            <a:spLocks noGrp="1"/>
          </p:cNvSpPr>
          <p:nvPr>
            <p:ph type="pic" sz="quarter" idx="19" hasCustomPrompt="1"/>
          </p:nvPr>
        </p:nvSpPr>
        <p:spPr>
          <a:xfrm>
            <a:off x="5525268" y="4139132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9" name="Zástupný symbol pro text 12"/>
          <p:cNvSpPr>
            <a:spLocks noGrp="1"/>
          </p:cNvSpPr>
          <p:nvPr>
            <p:ph type="body" sz="quarter" idx="20" hasCustomPrompt="1"/>
          </p:nvPr>
        </p:nvSpPr>
        <p:spPr>
          <a:xfrm>
            <a:off x="5525268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24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5735283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 userDrawn="1">
            <p:ph idx="1" hasCustomPrompt="1"/>
          </p:nvPr>
        </p:nvSpPr>
        <p:spPr>
          <a:xfrm>
            <a:off x="342850" y="1439561"/>
            <a:ext cx="10006115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6327184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cs-CZ" noProof="0" dirty="0"/>
              <a:t>Další kapitola</a:t>
            </a:r>
          </a:p>
        </p:txBody>
      </p:sp>
    </p:spTree>
    <p:extLst>
      <p:ext uri="{BB962C8B-B14F-4D97-AF65-F5344CB8AC3E}">
        <p14:creationId xmlns:p14="http://schemas.microsoft.com/office/powerpoint/2010/main" val="260046453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Skupina 19"/>
          <p:cNvGrpSpPr/>
          <p:nvPr userDrawn="1"/>
        </p:nvGrpSpPr>
        <p:grpSpPr>
          <a:xfrm>
            <a:off x="-1" y="-1905"/>
            <a:ext cx="10691994" cy="5870435"/>
            <a:chOff x="-1" y="-1905"/>
            <a:chExt cx="10691994" cy="5870435"/>
          </a:xfrm>
        </p:grpSpPr>
        <p:sp>
          <p:nvSpPr>
            <p:cNvPr id="28" name="Volný tvar 27"/>
            <p:cNvSpPr/>
            <p:nvPr userDrawn="1"/>
          </p:nvSpPr>
          <p:spPr>
            <a:xfrm>
              <a:off x="8671948" y="0"/>
              <a:ext cx="2019872" cy="3165168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9594" h="3165833">
                  <a:moveTo>
                    <a:pt x="2009594" y="0"/>
                  </a:moveTo>
                  <a:lnTo>
                    <a:pt x="860930" y="0"/>
                  </a:lnTo>
                  <a:lnTo>
                    <a:pt x="0" y="1896183"/>
                  </a:lnTo>
                  <a:lnTo>
                    <a:pt x="641930" y="3165833"/>
                  </a:lnTo>
                  <a:lnTo>
                    <a:pt x="2008576" y="3165833"/>
                  </a:lnTo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Volný tvar 28"/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Volný tvar 29"/>
            <p:cNvSpPr/>
            <p:nvPr userDrawn="1"/>
          </p:nvSpPr>
          <p:spPr>
            <a:xfrm>
              <a:off x="2381428" y="0"/>
              <a:ext cx="7155030" cy="1892480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56091" h="1884236">
                  <a:moveTo>
                    <a:pt x="6295220" y="1884236"/>
                  </a:moveTo>
                  <a:lnTo>
                    <a:pt x="7156091" y="0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Volný tvar 30"/>
            <p:cNvSpPr/>
            <p:nvPr userDrawn="1"/>
          </p:nvSpPr>
          <p:spPr>
            <a:xfrm>
              <a:off x="-1" y="-1905"/>
              <a:ext cx="8678465" cy="4438313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1671" h="4439245">
                  <a:moveTo>
                    <a:pt x="8671671" y="1894278"/>
                  </a:moveTo>
                  <a:lnTo>
                    <a:pt x="2373282" y="0"/>
                  </a:lnTo>
                  <a:lnTo>
                    <a:pt x="0" y="1905"/>
                  </a:lnTo>
                  <a:lnTo>
                    <a:pt x="0" y="4439245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2" name="Obrázek 31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5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78865" cy="540000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</a:t>
            </a:r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8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Jméno</a:t>
            </a:r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8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/>
              <a:t>XX.XX.2017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49" y="2358000"/>
            <a:ext cx="6550641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Dodatečné informace</a:t>
            </a:r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Oddělení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2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71731909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gh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Skupina 19"/>
          <p:cNvGrpSpPr/>
          <p:nvPr userDrawn="1"/>
        </p:nvGrpSpPr>
        <p:grpSpPr>
          <a:xfrm>
            <a:off x="-1" y="-1905"/>
            <a:ext cx="10691994" cy="5870435"/>
            <a:chOff x="-1" y="-1905"/>
            <a:chExt cx="10691994" cy="5870435"/>
          </a:xfrm>
        </p:grpSpPr>
        <p:sp>
          <p:nvSpPr>
            <p:cNvPr id="28" name="Volný tvar 27"/>
            <p:cNvSpPr/>
            <p:nvPr userDrawn="1"/>
          </p:nvSpPr>
          <p:spPr>
            <a:xfrm>
              <a:off x="8671948" y="0"/>
              <a:ext cx="2019872" cy="3165168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9594" h="3165833">
                  <a:moveTo>
                    <a:pt x="2009594" y="0"/>
                  </a:moveTo>
                  <a:lnTo>
                    <a:pt x="860930" y="0"/>
                  </a:lnTo>
                  <a:lnTo>
                    <a:pt x="0" y="1896183"/>
                  </a:lnTo>
                  <a:lnTo>
                    <a:pt x="641930" y="3165833"/>
                  </a:lnTo>
                  <a:lnTo>
                    <a:pt x="2008576" y="3165833"/>
                  </a:lnTo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Volný tvar 28"/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Volný tvar 29"/>
            <p:cNvSpPr/>
            <p:nvPr userDrawn="1"/>
          </p:nvSpPr>
          <p:spPr>
            <a:xfrm>
              <a:off x="2381428" y="0"/>
              <a:ext cx="7155030" cy="1892480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56091" h="1884236">
                  <a:moveTo>
                    <a:pt x="6295220" y="1884236"/>
                  </a:moveTo>
                  <a:lnTo>
                    <a:pt x="7156091" y="0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95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Volný tvar 30"/>
            <p:cNvSpPr/>
            <p:nvPr userDrawn="1"/>
          </p:nvSpPr>
          <p:spPr>
            <a:xfrm>
              <a:off x="-1" y="-1905"/>
              <a:ext cx="8678465" cy="4438313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1671" h="4439245">
                  <a:moveTo>
                    <a:pt x="8671671" y="1894278"/>
                  </a:moveTo>
                  <a:lnTo>
                    <a:pt x="2373282" y="0"/>
                  </a:lnTo>
                  <a:lnTo>
                    <a:pt x="0" y="1905"/>
                  </a:lnTo>
                  <a:lnTo>
                    <a:pt x="0" y="4439245"/>
                  </a:lnTo>
                </a:path>
              </a:pathLst>
            </a:custGeom>
            <a:solidFill>
              <a:schemeClr val="bg1">
                <a:lumMod val="95000"/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2" name="Obrázek 31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8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78865" cy="540000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bg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</a:t>
            </a:r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8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Jméno</a:t>
            </a:r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8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/>
              <a:t>XX.XX.2017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49" y="2358000"/>
            <a:ext cx="6550641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Dodatečné informace</a:t>
            </a:r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Oddělení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2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54905936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50" y="1439561"/>
            <a:ext cx="10006115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9053086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51" y="1439561"/>
            <a:ext cx="4823697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  <p:sp>
        <p:nvSpPr>
          <p:cNvPr id="9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5525268" y="1439561"/>
            <a:ext cx="4823697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8487494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49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  <p:sp>
        <p:nvSpPr>
          <p:cNvPr id="10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3798324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11" name="Zástupný symbol pro obsah 2"/>
          <p:cNvSpPr>
            <a:spLocks noGrp="1"/>
          </p:cNvSpPr>
          <p:nvPr>
            <p:ph idx="14" hasCustomPrompt="1"/>
          </p:nvPr>
        </p:nvSpPr>
        <p:spPr>
          <a:xfrm>
            <a:off x="7253800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2688179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9" name="Zástupný symbol pro text 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50" y="1439560"/>
            <a:ext cx="3096065" cy="5183048"/>
          </a:xfrm>
        </p:spPr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797436" y="1439560"/>
            <a:ext cx="6551028" cy="5183048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5" name="Zástupný symbol pro text 28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4" name="Nadpis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86523970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1949" y="1439562"/>
            <a:ext cx="10006515" cy="5183685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3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275202106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0691813" cy="6964537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</p:spTree>
    <p:extLst>
      <p:ext uri="{BB962C8B-B14F-4D97-AF65-F5344CB8AC3E}">
        <p14:creationId xmlns:p14="http://schemas.microsoft.com/office/powerpoint/2010/main" val="86555946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tli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2850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3" name="Zástupný symbol pro text 12"/>
          <p:cNvSpPr>
            <a:spLocks noGrp="1"/>
          </p:cNvSpPr>
          <p:nvPr>
            <p:ph type="body" sz="quarter" idx="14" hasCustomPrompt="1"/>
          </p:nvPr>
        </p:nvSpPr>
        <p:spPr>
          <a:xfrm>
            <a:off x="342850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4" name="Zástupný symbol pro obrázek 10"/>
          <p:cNvSpPr>
            <a:spLocks noGrp="1"/>
          </p:cNvSpPr>
          <p:nvPr>
            <p:ph type="pic" sz="quarter" idx="15" hasCustomPrompt="1"/>
          </p:nvPr>
        </p:nvSpPr>
        <p:spPr>
          <a:xfrm>
            <a:off x="342850" y="4139332"/>
            <a:ext cx="4823696" cy="22313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5" name="Zástupný symbol pro text 12"/>
          <p:cNvSpPr>
            <a:spLocks noGrp="1"/>
          </p:cNvSpPr>
          <p:nvPr>
            <p:ph type="body" sz="quarter" idx="16" hasCustomPrompt="1"/>
          </p:nvPr>
        </p:nvSpPr>
        <p:spPr>
          <a:xfrm>
            <a:off x="342850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6" name="Zástupný symbol pro obrázek 10"/>
          <p:cNvSpPr>
            <a:spLocks noGrp="1"/>
          </p:cNvSpPr>
          <p:nvPr>
            <p:ph type="pic" sz="quarter" idx="17" hasCustomPrompt="1"/>
          </p:nvPr>
        </p:nvSpPr>
        <p:spPr>
          <a:xfrm>
            <a:off x="5525268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7" name="Zástupný symbol pro text 12"/>
          <p:cNvSpPr>
            <a:spLocks noGrp="1"/>
          </p:cNvSpPr>
          <p:nvPr>
            <p:ph type="body" sz="quarter" idx="18" hasCustomPrompt="1"/>
          </p:nvPr>
        </p:nvSpPr>
        <p:spPr>
          <a:xfrm>
            <a:off x="5525268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8" name="Zástupný symbol pro obrázek 10"/>
          <p:cNvSpPr>
            <a:spLocks noGrp="1"/>
          </p:cNvSpPr>
          <p:nvPr>
            <p:ph type="pic" sz="quarter" idx="19" hasCustomPrompt="1"/>
          </p:nvPr>
        </p:nvSpPr>
        <p:spPr>
          <a:xfrm>
            <a:off x="5525268" y="4139332"/>
            <a:ext cx="4823696" cy="22313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9" name="Zástupný symbol pro text 12"/>
          <p:cNvSpPr>
            <a:spLocks noGrp="1"/>
          </p:cNvSpPr>
          <p:nvPr>
            <p:ph type="body" sz="quarter" idx="20" hasCustomPrompt="1"/>
          </p:nvPr>
        </p:nvSpPr>
        <p:spPr>
          <a:xfrm>
            <a:off x="5525268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24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7968176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51" y="1439561"/>
            <a:ext cx="4823697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  <p:sp>
        <p:nvSpPr>
          <p:cNvPr id="9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5525268" y="1439561"/>
            <a:ext cx="4823697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4708262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cs-CZ" noProof="0" dirty="0"/>
              <a:t>Další kapitola</a:t>
            </a:r>
          </a:p>
        </p:txBody>
      </p:sp>
    </p:spTree>
    <p:extLst>
      <p:ext uri="{BB962C8B-B14F-4D97-AF65-F5344CB8AC3E}">
        <p14:creationId xmlns:p14="http://schemas.microsoft.com/office/powerpoint/2010/main" val="27870035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Skupina 19"/>
          <p:cNvGrpSpPr/>
          <p:nvPr userDrawn="1"/>
        </p:nvGrpSpPr>
        <p:grpSpPr>
          <a:xfrm>
            <a:off x="-1" y="-1905"/>
            <a:ext cx="10691994" cy="5870435"/>
            <a:chOff x="-1" y="-1905"/>
            <a:chExt cx="10691994" cy="5870435"/>
          </a:xfrm>
        </p:grpSpPr>
        <p:sp>
          <p:nvSpPr>
            <p:cNvPr id="28" name="Volný tvar 27"/>
            <p:cNvSpPr/>
            <p:nvPr userDrawn="1"/>
          </p:nvSpPr>
          <p:spPr>
            <a:xfrm>
              <a:off x="8671948" y="0"/>
              <a:ext cx="2019872" cy="3165168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9594" h="3165833">
                  <a:moveTo>
                    <a:pt x="2009594" y="0"/>
                  </a:moveTo>
                  <a:lnTo>
                    <a:pt x="860930" y="0"/>
                  </a:lnTo>
                  <a:lnTo>
                    <a:pt x="0" y="1896183"/>
                  </a:lnTo>
                  <a:lnTo>
                    <a:pt x="641930" y="3165833"/>
                  </a:lnTo>
                  <a:lnTo>
                    <a:pt x="2008576" y="3165833"/>
                  </a:lnTo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Volný tvar 28"/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Volný tvar 29"/>
            <p:cNvSpPr/>
            <p:nvPr userDrawn="1"/>
          </p:nvSpPr>
          <p:spPr>
            <a:xfrm>
              <a:off x="2381428" y="0"/>
              <a:ext cx="7155030" cy="1892480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56091" h="1884236">
                  <a:moveTo>
                    <a:pt x="6295220" y="1884236"/>
                  </a:moveTo>
                  <a:lnTo>
                    <a:pt x="7156091" y="0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Volný tvar 30"/>
            <p:cNvSpPr/>
            <p:nvPr userDrawn="1"/>
          </p:nvSpPr>
          <p:spPr>
            <a:xfrm>
              <a:off x="-1" y="-1905"/>
              <a:ext cx="8678465" cy="4438313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1671" h="4439245">
                  <a:moveTo>
                    <a:pt x="8671671" y="1894278"/>
                  </a:moveTo>
                  <a:lnTo>
                    <a:pt x="2373282" y="0"/>
                  </a:lnTo>
                  <a:lnTo>
                    <a:pt x="0" y="1905"/>
                  </a:lnTo>
                  <a:lnTo>
                    <a:pt x="0" y="4439245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2" name="Obrázek 31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3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78865" cy="540000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</a:t>
            </a:r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8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Jméno</a:t>
            </a:r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8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/>
              <a:t>XX.XX.2017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50" y="2358000"/>
            <a:ext cx="6550076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Dodatečné informace</a:t>
            </a:r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Oddělení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2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62896962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gh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Skupina 19"/>
          <p:cNvGrpSpPr/>
          <p:nvPr userDrawn="1"/>
        </p:nvGrpSpPr>
        <p:grpSpPr>
          <a:xfrm>
            <a:off x="-1" y="-1905"/>
            <a:ext cx="10691994" cy="5870435"/>
            <a:chOff x="-1" y="-1905"/>
            <a:chExt cx="10691994" cy="5870435"/>
          </a:xfrm>
        </p:grpSpPr>
        <p:sp>
          <p:nvSpPr>
            <p:cNvPr id="28" name="Volný tvar 27"/>
            <p:cNvSpPr/>
            <p:nvPr userDrawn="1"/>
          </p:nvSpPr>
          <p:spPr>
            <a:xfrm>
              <a:off x="8671948" y="0"/>
              <a:ext cx="2019872" cy="3165168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9594" h="3165833">
                  <a:moveTo>
                    <a:pt x="2009594" y="0"/>
                  </a:moveTo>
                  <a:lnTo>
                    <a:pt x="860930" y="0"/>
                  </a:lnTo>
                  <a:lnTo>
                    <a:pt x="0" y="1896183"/>
                  </a:lnTo>
                  <a:lnTo>
                    <a:pt x="641930" y="3165833"/>
                  </a:lnTo>
                  <a:lnTo>
                    <a:pt x="2008576" y="3165833"/>
                  </a:lnTo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Volný tvar 28"/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Volný tvar 29"/>
            <p:cNvSpPr/>
            <p:nvPr userDrawn="1"/>
          </p:nvSpPr>
          <p:spPr>
            <a:xfrm>
              <a:off x="2381428" y="0"/>
              <a:ext cx="7155030" cy="1892480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56091" h="1884236">
                  <a:moveTo>
                    <a:pt x="6295220" y="1884236"/>
                  </a:moveTo>
                  <a:lnTo>
                    <a:pt x="7156091" y="0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95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Volný tvar 30"/>
            <p:cNvSpPr/>
            <p:nvPr userDrawn="1"/>
          </p:nvSpPr>
          <p:spPr>
            <a:xfrm>
              <a:off x="-1" y="-1905"/>
              <a:ext cx="8678465" cy="4438313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1671" h="4439245">
                  <a:moveTo>
                    <a:pt x="8671671" y="1894278"/>
                  </a:moveTo>
                  <a:lnTo>
                    <a:pt x="2373282" y="0"/>
                  </a:lnTo>
                  <a:lnTo>
                    <a:pt x="0" y="1905"/>
                  </a:lnTo>
                  <a:lnTo>
                    <a:pt x="0" y="4439245"/>
                  </a:lnTo>
                </a:path>
              </a:pathLst>
            </a:custGeom>
            <a:solidFill>
              <a:schemeClr val="bg1">
                <a:lumMod val="95000"/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2" name="Obrázek 31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1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78865" cy="540000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bg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</a:t>
            </a:r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8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Jméno</a:t>
            </a:r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8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/>
              <a:t>XX.XX.2017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49" y="2358000"/>
            <a:ext cx="6550641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Dodatečné informace</a:t>
            </a:r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Oddělení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2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84508805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50" y="1439561"/>
            <a:ext cx="10006115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4493685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51" y="1439561"/>
            <a:ext cx="4823697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  <p:sp>
        <p:nvSpPr>
          <p:cNvPr id="9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5525268" y="1439561"/>
            <a:ext cx="4823697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4608313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49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  <p:sp>
        <p:nvSpPr>
          <p:cNvPr id="10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3798324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11" name="Zástupný symbol pro obsah 2"/>
          <p:cNvSpPr>
            <a:spLocks noGrp="1"/>
          </p:cNvSpPr>
          <p:nvPr>
            <p:ph idx="14" hasCustomPrompt="1"/>
          </p:nvPr>
        </p:nvSpPr>
        <p:spPr>
          <a:xfrm>
            <a:off x="7253800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2567015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9" name="Zástupný symbol pro text 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50" y="1439560"/>
            <a:ext cx="3096065" cy="5183048"/>
          </a:xfrm>
        </p:spPr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797436" y="1439560"/>
            <a:ext cx="6551028" cy="5183048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5" name="Zástupný symbol pro text 28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4" name="Nadpis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13944617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1949" y="1439562"/>
            <a:ext cx="10006515" cy="5183685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3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194963277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0691813" cy="6964537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</p:spTree>
    <p:extLst>
      <p:ext uri="{BB962C8B-B14F-4D97-AF65-F5344CB8AC3E}">
        <p14:creationId xmlns:p14="http://schemas.microsoft.com/office/powerpoint/2010/main" val="256837128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tli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2850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3" name="Zástupný symbol pro text 12"/>
          <p:cNvSpPr>
            <a:spLocks noGrp="1"/>
          </p:cNvSpPr>
          <p:nvPr>
            <p:ph type="body" sz="quarter" idx="14" hasCustomPrompt="1"/>
          </p:nvPr>
        </p:nvSpPr>
        <p:spPr>
          <a:xfrm>
            <a:off x="342850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4" name="Zástupný symbol pro obrázek 10"/>
          <p:cNvSpPr>
            <a:spLocks noGrp="1"/>
          </p:cNvSpPr>
          <p:nvPr>
            <p:ph type="pic" sz="quarter" idx="15" hasCustomPrompt="1"/>
          </p:nvPr>
        </p:nvSpPr>
        <p:spPr>
          <a:xfrm>
            <a:off x="342850" y="4139132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5" name="Zástupný symbol pro text 12"/>
          <p:cNvSpPr>
            <a:spLocks noGrp="1"/>
          </p:cNvSpPr>
          <p:nvPr>
            <p:ph type="body" sz="quarter" idx="16" hasCustomPrompt="1"/>
          </p:nvPr>
        </p:nvSpPr>
        <p:spPr>
          <a:xfrm>
            <a:off x="342850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6" name="Zástupný symbol pro obrázek 10"/>
          <p:cNvSpPr>
            <a:spLocks noGrp="1"/>
          </p:cNvSpPr>
          <p:nvPr>
            <p:ph type="pic" sz="quarter" idx="17" hasCustomPrompt="1"/>
          </p:nvPr>
        </p:nvSpPr>
        <p:spPr>
          <a:xfrm>
            <a:off x="5525268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7" name="Zástupný symbol pro text 12"/>
          <p:cNvSpPr>
            <a:spLocks noGrp="1"/>
          </p:cNvSpPr>
          <p:nvPr>
            <p:ph type="body" sz="quarter" idx="18" hasCustomPrompt="1"/>
          </p:nvPr>
        </p:nvSpPr>
        <p:spPr>
          <a:xfrm>
            <a:off x="5525268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8" name="Zástupný symbol pro obrázek 10"/>
          <p:cNvSpPr>
            <a:spLocks noGrp="1"/>
          </p:cNvSpPr>
          <p:nvPr>
            <p:ph type="pic" sz="quarter" idx="19" hasCustomPrompt="1"/>
          </p:nvPr>
        </p:nvSpPr>
        <p:spPr>
          <a:xfrm>
            <a:off x="5525268" y="4139132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9" name="Zástupný symbol pro text 12"/>
          <p:cNvSpPr>
            <a:spLocks noGrp="1"/>
          </p:cNvSpPr>
          <p:nvPr>
            <p:ph type="body" sz="quarter" idx="20" hasCustomPrompt="1"/>
          </p:nvPr>
        </p:nvSpPr>
        <p:spPr>
          <a:xfrm>
            <a:off x="5525268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24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3099037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49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  <p:sp>
        <p:nvSpPr>
          <p:cNvPr id="10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3798324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11" name="Zástupný symbol pro obsah 2"/>
          <p:cNvSpPr>
            <a:spLocks noGrp="1"/>
          </p:cNvSpPr>
          <p:nvPr>
            <p:ph idx="14" hasCustomPrompt="1"/>
          </p:nvPr>
        </p:nvSpPr>
        <p:spPr>
          <a:xfrm>
            <a:off x="7253800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3373533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cs-CZ" noProof="0" dirty="0"/>
              <a:t>Další kapitola</a:t>
            </a:r>
          </a:p>
        </p:txBody>
      </p:sp>
    </p:spTree>
    <p:extLst>
      <p:ext uri="{BB962C8B-B14F-4D97-AF65-F5344CB8AC3E}">
        <p14:creationId xmlns:p14="http://schemas.microsoft.com/office/powerpoint/2010/main" val="6973257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9" name="Zástupný symbol pro text 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50" y="1439560"/>
            <a:ext cx="3096065" cy="5183048"/>
          </a:xfrm>
        </p:spPr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797436" y="1439560"/>
            <a:ext cx="6551028" cy="5183048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5" name="Zástupný symbol pro text 28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4" name="Nadpis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9684147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1949" y="1439562"/>
            <a:ext cx="10006515" cy="5183685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3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28998053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0691813" cy="6964537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</p:spTree>
    <p:extLst>
      <p:ext uri="{BB962C8B-B14F-4D97-AF65-F5344CB8AC3E}">
        <p14:creationId xmlns:p14="http://schemas.microsoft.com/office/powerpoint/2010/main" val="30364539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tli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2850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3" name="Zástupný symbol pro text 12"/>
          <p:cNvSpPr>
            <a:spLocks noGrp="1"/>
          </p:cNvSpPr>
          <p:nvPr>
            <p:ph type="body" sz="quarter" idx="14" hasCustomPrompt="1"/>
          </p:nvPr>
        </p:nvSpPr>
        <p:spPr>
          <a:xfrm>
            <a:off x="342850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4" name="Zástupný symbol pro obrázek 10"/>
          <p:cNvSpPr>
            <a:spLocks noGrp="1"/>
          </p:cNvSpPr>
          <p:nvPr>
            <p:ph type="pic" sz="quarter" idx="15" hasCustomPrompt="1"/>
          </p:nvPr>
        </p:nvSpPr>
        <p:spPr>
          <a:xfrm>
            <a:off x="342850" y="4139132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5" name="Zástupný symbol pro text 12"/>
          <p:cNvSpPr>
            <a:spLocks noGrp="1"/>
          </p:cNvSpPr>
          <p:nvPr>
            <p:ph type="body" sz="quarter" idx="16" hasCustomPrompt="1"/>
          </p:nvPr>
        </p:nvSpPr>
        <p:spPr>
          <a:xfrm>
            <a:off x="342850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6" name="Zástupný symbol pro obrázek 10"/>
          <p:cNvSpPr>
            <a:spLocks noGrp="1"/>
          </p:cNvSpPr>
          <p:nvPr>
            <p:ph type="pic" sz="quarter" idx="17" hasCustomPrompt="1"/>
          </p:nvPr>
        </p:nvSpPr>
        <p:spPr>
          <a:xfrm>
            <a:off x="5525268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7" name="Zástupný symbol pro text 12"/>
          <p:cNvSpPr>
            <a:spLocks noGrp="1"/>
          </p:cNvSpPr>
          <p:nvPr>
            <p:ph type="body" sz="quarter" idx="18" hasCustomPrompt="1"/>
          </p:nvPr>
        </p:nvSpPr>
        <p:spPr>
          <a:xfrm>
            <a:off x="5525268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8" name="Zástupný symbol pro obrázek 10"/>
          <p:cNvSpPr>
            <a:spLocks noGrp="1"/>
          </p:cNvSpPr>
          <p:nvPr>
            <p:ph type="pic" sz="quarter" idx="19" hasCustomPrompt="1"/>
          </p:nvPr>
        </p:nvSpPr>
        <p:spPr>
          <a:xfrm>
            <a:off x="5525268" y="4139132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9" name="Zástupný symbol pro text 12"/>
          <p:cNvSpPr>
            <a:spLocks noGrp="1"/>
          </p:cNvSpPr>
          <p:nvPr>
            <p:ph type="body" sz="quarter" idx="20" hasCustomPrompt="1"/>
          </p:nvPr>
        </p:nvSpPr>
        <p:spPr>
          <a:xfrm>
            <a:off x="5525268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24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2849687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gi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vmlDrawing" Target="../drawings/vmlDrawing4.vml"/><Relationship Id="rId2" Type="http://schemas.openxmlformats.org/officeDocument/2006/relationships/slideLayout" Target="../slideLayouts/slideLayout1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5.xml"/><Relationship Id="rId15" Type="http://schemas.openxmlformats.org/officeDocument/2006/relationships/oleObject" Target="../embeddings/oleObject4.bin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image" Target="../media/image2.gi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tags" Target="../tags/tag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vmlDrawing" Target="../drawings/vmlDrawing7.vml"/><Relationship Id="rId2" Type="http://schemas.openxmlformats.org/officeDocument/2006/relationships/slideLayout" Target="../slideLayouts/slideLayout2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5.xml"/><Relationship Id="rId15" Type="http://schemas.openxmlformats.org/officeDocument/2006/relationships/oleObject" Target="../embeddings/oleObject7.bin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image" Target="../media/image2.gi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ags" Target="../tags/tag11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vmlDrawing" Target="../drawings/vmlDrawing10.vml"/><Relationship Id="rId2" Type="http://schemas.openxmlformats.org/officeDocument/2006/relationships/slideLayout" Target="../slideLayouts/slideLayout3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5.xml"/><Relationship Id="rId15" Type="http://schemas.openxmlformats.org/officeDocument/2006/relationships/oleObject" Target="../embeddings/oleObject10.bin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image" Target="../media/image2.gi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tags" Target="../tags/tag14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vmlDrawing" Target="../drawings/vmlDrawing13.vml"/><Relationship Id="rId2" Type="http://schemas.openxmlformats.org/officeDocument/2006/relationships/slideLayout" Target="../slideLayouts/slideLayout4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45.xml"/><Relationship Id="rId15" Type="http://schemas.openxmlformats.org/officeDocument/2006/relationships/oleObject" Target="../embeddings/oleObject13.bin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image" Target="../media/image2.gi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Skupina 12"/>
          <p:cNvGrpSpPr/>
          <p:nvPr userDrawn="1"/>
        </p:nvGrpSpPr>
        <p:grpSpPr>
          <a:xfrm>
            <a:off x="0" y="6961281"/>
            <a:ext cx="10693400" cy="599982"/>
            <a:chOff x="0" y="6961281"/>
            <a:chExt cx="10693400" cy="599982"/>
          </a:xfrm>
        </p:grpSpPr>
        <p:pic>
          <p:nvPicPr>
            <p:cNvPr id="20" name="Obrázek 19"/>
            <p:cNvPicPr>
              <a:picLocks noChangeAspect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23721" y="7084105"/>
              <a:ext cx="1726779" cy="360000"/>
            </a:xfrm>
            <a:prstGeom prst="rect">
              <a:avLst/>
            </a:prstGeom>
          </p:spPr>
        </p:pic>
        <p:sp>
          <p:nvSpPr>
            <p:cNvPr id="21" name="Volný tvar 20"/>
            <p:cNvSpPr/>
            <p:nvPr userDrawn="1"/>
          </p:nvSpPr>
          <p:spPr>
            <a:xfrm>
              <a:off x="0" y="6961281"/>
              <a:ext cx="8444706" cy="599334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599334 h 599334"/>
                <a:gd name="connsiteX1" fmla="*/ 8335151 w 8490871"/>
                <a:gd name="connsiteY1" fmla="*/ 242876 h 599334"/>
                <a:gd name="connsiteX2" fmla="*/ 8455205 w 8490871"/>
                <a:gd name="connsiteY2" fmla="*/ 3506 h 599334"/>
                <a:gd name="connsiteX3" fmla="*/ 159745 w 8490871"/>
                <a:gd name="connsiteY3" fmla="*/ 0 h 599334"/>
                <a:gd name="connsiteX4" fmla="*/ 0 w 8490871"/>
                <a:gd name="connsiteY4" fmla="*/ 599334 h 599334"/>
                <a:gd name="connsiteX5" fmla="*/ 8490871 w 8490871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12236 w 8331126"/>
                <a:gd name="connsiteY4" fmla="*/ 599334 h 599334"/>
                <a:gd name="connsiteX5" fmla="*/ 8331126 w 8331126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2842 w 8331126"/>
                <a:gd name="connsiteY4" fmla="*/ 599334 h 599334"/>
                <a:gd name="connsiteX5" fmla="*/ 8331126 w 8331126"/>
                <a:gd name="connsiteY5" fmla="*/ 599334 h 599334"/>
                <a:gd name="connsiteX0" fmla="*/ 8328482 w 8328482"/>
                <a:gd name="connsiteY0" fmla="*/ 599334 h 599334"/>
                <a:gd name="connsiteX1" fmla="*/ 8172762 w 8328482"/>
                <a:gd name="connsiteY1" fmla="*/ 242876 h 599334"/>
                <a:gd name="connsiteX2" fmla="*/ 8292816 w 8328482"/>
                <a:gd name="connsiteY2" fmla="*/ 3506 h 599334"/>
                <a:gd name="connsiteX3" fmla="*/ 1114 w 8328482"/>
                <a:gd name="connsiteY3" fmla="*/ 0 h 599334"/>
                <a:gd name="connsiteX4" fmla="*/ 198 w 8328482"/>
                <a:gd name="connsiteY4" fmla="*/ 599334 h 599334"/>
                <a:gd name="connsiteX5" fmla="*/ 8328482 w 8328482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  <a:gd name="connsiteX0" fmla="*/ 8328325 w 8328325"/>
                <a:gd name="connsiteY0" fmla="*/ 599334 h 599334"/>
                <a:gd name="connsiteX1" fmla="*/ 8172605 w 8328325"/>
                <a:gd name="connsiteY1" fmla="*/ 242876 h 599334"/>
                <a:gd name="connsiteX2" fmla="*/ 8292659 w 8328325"/>
                <a:gd name="connsiteY2" fmla="*/ 3506 h 599334"/>
                <a:gd name="connsiteX3" fmla="*/ 14110 w 8328325"/>
                <a:gd name="connsiteY3" fmla="*/ 0 h 599334"/>
                <a:gd name="connsiteX4" fmla="*/ 41 w 8328325"/>
                <a:gd name="connsiteY4" fmla="*/ 599334 h 599334"/>
                <a:gd name="connsiteX5" fmla="*/ 8328325 w 8328325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1630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30206 w 8330206"/>
                <a:gd name="connsiteY0" fmla="*/ 599334 h 599334"/>
                <a:gd name="connsiteX1" fmla="*/ 8174486 w 8330206"/>
                <a:gd name="connsiteY1" fmla="*/ 242876 h 599334"/>
                <a:gd name="connsiteX2" fmla="*/ 8294540 w 8330206"/>
                <a:gd name="connsiteY2" fmla="*/ 3506 h 599334"/>
                <a:gd name="connsiteX3" fmla="*/ 960 w 8330206"/>
                <a:gd name="connsiteY3" fmla="*/ 0 h 599334"/>
                <a:gd name="connsiteX4" fmla="*/ 43 w 8330206"/>
                <a:gd name="connsiteY4" fmla="*/ 599334 h 599334"/>
                <a:gd name="connsiteX5" fmla="*/ 8330206 w 8330206"/>
                <a:gd name="connsiteY5" fmla="*/ 599334 h 599334"/>
                <a:gd name="connsiteX0" fmla="*/ 8331125 w 8331125"/>
                <a:gd name="connsiteY0" fmla="*/ 599334 h 599334"/>
                <a:gd name="connsiteX1" fmla="*/ 8175405 w 8331125"/>
                <a:gd name="connsiteY1" fmla="*/ 242876 h 599334"/>
                <a:gd name="connsiteX2" fmla="*/ 8295459 w 8331125"/>
                <a:gd name="connsiteY2" fmla="*/ 3506 h 599334"/>
                <a:gd name="connsiteX3" fmla="*/ 0 w 8331125"/>
                <a:gd name="connsiteY3" fmla="*/ 0 h 599334"/>
                <a:gd name="connsiteX4" fmla="*/ 962 w 8331125"/>
                <a:gd name="connsiteY4" fmla="*/ 599334 h 599334"/>
                <a:gd name="connsiteX5" fmla="*/ 8331125 w 8331125"/>
                <a:gd name="connsiteY5" fmla="*/ 599334 h 599334"/>
                <a:gd name="connsiteX0" fmla="*/ 8330185 w 8330185"/>
                <a:gd name="connsiteY0" fmla="*/ 599334 h 599334"/>
                <a:gd name="connsiteX1" fmla="*/ 8174465 w 8330185"/>
                <a:gd name="connsiteY1" fmla="*/ 242876 h 599334"/>
                <a:gd name="connsiteX2" fmla="*/ 8294519 w 8330185"/>
                <a:gd name="connsiteY2" fmla="*/ 3506 h 599334"/>
                <a:gd name="connsiteX3" fmla="*/ 2818 w 8330185"/>
                <a:gd name="connsiteY3" fmla="*/ 0 h 599334"/>
                <a:gd name="connsiteX4" fmla="*/ 22 w 8330185"/>
                <a:gd name="connsiteY4" fmla="*/ 599334 h 599334"/>
                <a:gd name="connsiteX5" fmla="*/ 8330185 w 8330185"/>
                <a:gd name="connsiteY5" fmla="*/ 599334 h 599334"/>
                <a:gd name="connsiteX0" fmla="*/ 8328328 w 8328328"/>
                <a:gd name="connsiteY0" fmla="*/ 599334 h 599334"/>
                <a:gd name="connsiteX1" fmla="*/ 8172608 w 8328328"/>
                <a:gd name="connsiteY1" fmla="*/ 242876 h 599334"/>
                <a:gd name="connsiteX2" fmla="*/ 8292662 w 8328328"/>
                <a:gd name="connsiteY2" fmla="*/ 3506 h 599334"/>
                <a:gd name="connsiteX3" fmla="*/ 961 w 8328328"/>
                <a:gd name="connsiteY3" fmla="*/ 0 h 599334"/>
                <a:gd name="connsiteX4" fmla="*/ 44 w 8328328"/>
                <a:gd name="connsiteY4" fmla="*/ 599334 h 599334"/>
                <a:gd name="connsiteX5" fmla="*/ 8328328 w 8328328"/>
                <a:gd name="connsiteY5" fmla="*/ 599334 h 599334"/>
                <a:gd name="connsiteX0" fmla="*/ 8327367 w 8327367"/>
                <a:gd name="connsiteY0" fmla="*/ 599334 h 599334"/>
                <a:gd name="connsiteX1" fmla="*/ 8171647 w 8327367"/>
                <a:gd name="connsiteY1" fmla="*/ 242876 h 599334"/>
                <a:gd name="connsiteX2" fmla="*/ 8291701 w 8327367"/>
                <a:gd name="connsiteY2" fmla="*/ 3506 h 599334"/>
                <a:gd name="connsiteX3" fmla="*/ 0 w 8327367"/>
                <a:gd name="connsiteY3" fmla="*/ 0 h 599334"/>
                <a:gd name="connsiteX4" fmla="*/ 962 w 8327367"/>
                <a:gd name="connsiteY4" fmla="*/ 599334 h 599334"/>
                <a:gd name="connsiteX5" fmla="*/ 8327367 w 8327367"/>
                <a:gd name="connsiteY5" fmla="*/ 599334 h 599334"/>
                <a:gd name="connsiteX0" fmla="*/ 8328327 w 8328327"/>
                <a:gd name="connsiteY0" fmla="*/ 599334 h 599334"/>
                <a:gd name="connsiteX1" fmla="*/ 8172607 w 8328327"/>
                <a:gd name="connsiteY1" fmla="*/ 242876 h 599334"/>
                <a:gd name="connsiteX2" fmla="*/ 8292661 w 8328327"/>
                <a:gd name="connsiteY2" fmla="*/ 3506 h 599334"/>
                <a:gd name="connsiteX3" fmla="*/ 960 w 8328327"/>
                <a:gd name="connsiteY3" fmla="*/ 0 h 599334"/>
                <a:gd name="connsiteX4" fmla="*/ 43 w 8328327"/>
                <a:gd name="connsiteY4" fmla="*/ 599334 h 599334"/>
                <a:gd name="connsiteX5" fmla="*/ 8328327 w 8328327"/>
                <a:gd name="connsiteY5" fmla="*/ 599334 h 599334"/>
                <a:gd name="connsiteX0" fmla="*/ 8328285 w 8328285"/>
                <a:gd name="connsiteY0" fmla="*/ 599334 h 599334"/>
                <a:gd name="connsiteX1" fmla="*/ 8172565 w 8328285"/>
                <a:gd name="connsiteY1" fmla="*/ 242876 h 599334"/>
                <a:gd name="connsiteX2" fmla="*/ 8292619 w 8328285"/>
                <a:gd name="connsiteY2" fmla="*/ 3506 h 599334"/>
                <a:gd name="connsiteX3" fmla="*/ 341008 w 8328285"/>
                <a:gd name="connsiteY3" fmla="*/ 0 h 599334"/>
                <a:gd name="connsiteX4" fmla="*/ 1 w 8328285"/>
                <a:gd name="connsiteY4" fmla="*/ 599334 h 599334"/>
                <a:gd name="connsiteX5" fmla="*/ 8328285 w 8328285"/>
                <a:gd name="connsiteY5" fmla="*/ 599334 h 599334"/>
                <a:gd name="connsiteX0" fmla="*/ 7990094 w 7990094"/>
                <a:gd name="connsiteY0" fmla="*/ 599334 h 601239"/>
                <a:gd name="connsiteX1" fmla="*/ 7834374 w 7990094"/>
                <a:gd name="connsiteY1" fmla="*/ 242876 h 601239"/>
                <a:gd name="connsiteX2" fmla="*/ 7954428 w 7990094"/>
                <a:gd name="connsiteY2" fmla="*/ 3506 h 601239"/>
                <a:gd name="connsiteX3" fmla="*/ 2817 w 7990094"/>
                <a:gd name="connsiteY3" fmla="*/ 0 h 601239"/>
                <a:gd name="connsiteX4" fmla="*/ 22 w 7990094"/>
                <a:gd name="connsiteY4" fmla="*/ 601239 h 601239"/>
                <a:gd name="connsiteX5" fmla="*/ 7990094 w 7990094"/>
                <a:gd name="connsiteY5" fmla="*/ 599334 h 601239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7429 h 599334"/>
                <a:gd name="connsiteX5" fmla="*/ 8328284 w 8328284"/>
                <a:gd name="connsiteY5" fmla="*/ 599334 h 599334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9334 h 599334"/>
                <a:gd name="connsiteX5" fmla="*/ 8328284 w 8328284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29247" h="599334">
                  <a:moveTo>
                    <a:pt x="8329247" y="599334"/>
                  </a:moveTo>
                  <a:lnTo>
                    <a:pt x="8173527" y="242876"/>
                  </a:lnTo>
                  <a:lnTo>
                    <a:pt x="8293581" y="3506"/>
                  </a:lnTo>
                  <a:lnTo>
                    <a:pt x="0" y="0"/>
                  </a:lnTo>
                  <a:lnTo>
                    <a:pt x="963" y="599334"/>
                  </a:lnTo>
                  <a:lnTo>
                    <a:pt x="8329247" y="599334"/>
                  </a:lnTo>
                  <a:close/>
                </a:path>
              </a:pathLst>
            </a:custGeom>
            <a:solidFill>
              <a:srgbClr val="DCDC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sp>
          <p:nvSpPr>
            <p:cNvPr id="22" name="Volný tvar 21"/>
            <p:cNvSpPr/>
            <p:nvPr userDrawn="1"/>
          </p:nvSpPr>
          <p:spPr>
            <a:xfrm>
              <a:off x="1907202" y="7204157"/>
              <a:ext cx="6537502" cy="357106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2033595 w 8491108"/>
                <a:gd name="connsiteY2" fmla="*/ 594144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356458 h 356458"/>
                <a:gd name="connsiteX1" fmla="*/ 8335151 w 8490871"/>
                <a:gd name="connsiteY1" fmla="*/ 0 h 356458"/>
                <a:gd name="connsiteX2" fmla="*/ 2033358 w 8490871"/>
                <a:gd name="connsiteY2" fmla="*/ 353296 h 356458"/>
                <a:gd name="connsiteX3" fmla="*/ 0 w 8490871"/>
                <a:gd name="connsiteY3" fmla="*/ 356458 h 356458"/>
                <a:gd name="connsiteX4" fmla="*/ 8490871 w 8490871"/>
                <a:gd name="connsiteY4" fmla="*/ 356458 h 356458"/>
                <a:gd name="connsiteX0" fmla="*/ 6457513 w 6457513"/>
                <a:gd name="connsiteY0" fmla="*/ 356458 h 356458"/>
                <a:gd name="connsiteX1" fmla="*/ 6301793 w 6457513"/>
                <a:gd name="connsiteY1" fmla="*/ 0 h 356458"/>
                <a:gd name="connsiteX2" fmla="*/ 0 w 6457513"/>
                <a:gd name="connsiteY2" fmla="*/ 353296 h 356458"/>
                <a:gd name="connsiteX3" fmla="*/ 6457513 w 6457513"/>
                <a:gd name="connsiteY3" fmla="*/ 356458 h 356458"/>
                <a:gd name="connsiteX0" fmla="*/ 6448118 w 6448118"/>
                <a:gd name="connsiteY0" fmla="*/ 356458 h 357106"/>
                <a:gd name="connsiteX1" fmla="*/ 6292398 w 6448118"/>
                <a:gd name="connsiteY1" fmla="*/ 0 h 357106"/>
                <a:gd name="connsiteX2" fmla="*/ 0 w 6448118"/>
                <a:gd name="connsiteY2" fmla="*/ 357106 h 357106"/>
                <a:gd name="connsiteX3" fmla="*/ 6448118 w 6448118"/>
                <a:gd name="connsiteY3" fmla="*/ 356458 h 357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8118" h="357106">
                  <a:moveTo>
                    <a:pt x="6448118" y="356458"/>
                  </a:moveTo>
                  <a:lnTo>
                    <a:pt x="6292398" y="0"/>
                  </a:lnTo>
                  <a:lnTo>
                    <a:pt x="0" y="357106"/>
                  </a:lnTo>
                  <a:lnTo>
                    <a:pt x="6448118" y="356458"/>
                  </a:lnTo>
                  <a:close/>
                </a:path>
              </a:pathLst>
            </a:custGeom>
            <a:solidFill>
              <a:srgbClr val="B6B6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sp>
          <p:nvSpPr>
            <p:cNvPr id="23" name="Volný tvar 22"/>
            <p:cNvSpPr/>
            <p:nvPr userDrawn="1"/>
          </p:nvSpPr>
          <p:spPr>
            <a:xfrm>
              <a:off x="3635636" y="6964787"/>
              <a:ext cx="4772907" cy="239370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3747792 w 8455442"/>
                <a:gd name="connsiteY0" fmla="*/ 0 h 601133"/>
                <a:gd name="connsiteX1" fmla="*/ 8335388 w 8455442"/>
                <a:gd name="connsiteY1" fmla="*/ 244675 h 601133"/>
                <a:gd name="connsiteX2" fmla="*/ 8455442 w 8455442"/>
                <a:gd name="connsiteY2" fmla="*/ 5305 h 601133"/>
                <a:gd name="connsiteX3" fmla="*/ 0 w 8455442"/>
                <a:gd name="connsiteY3" fmla="*/ 3827 h 601133"/>
                <a:gd name="connsiteX4" fmla="*/ 237 w 8455442"/>
                <a:gd name="connsiteY4" fmla="*/ 601133 h 601133"/>
                <a:gd name="connsiteX5" fmla="*/ 3747792 w 8455442"/>
                <a:gd name="connsiteY5" fmla="*/ 0 h 601133"/>
                <a:gd name="connsiteX0" fmla="*/ 3747792 w 8455442"/>
                <a:gd name="connsiteY0" fmla="*/ 0 h 244675"/>
                <a:gd name="connsiteX1" fmla="*/ 8335388 w 8455442"/>
                <a:gd name="connsiteY1" fmla="*/ 244675 h 244675"/>
                <a:gd name="connsiteX2" fmla="*/ 8455442 w 8455442"/>
                <a:gd name="connsiteY2" fmla="*/ 5305 h 244675"/>
                <a:gd name="connsiteX3" fmla="*/ 0 w 8455442"/>
                <a:gd name="connsiteY3" fmla="*/ 3827 h 244675"/>
                <a:gd name="connsiteX4" fmla="*/ 3747792 w 8455442"/>
                <a:gd name="connsiteY4" fmla="*/ 0 h 244675"/>
                <a:gd name="connsiteX0" fmla="*/ 0 w 4707650"/>
                <a:gd name="connsiteY0" fmla="*/ 0 h 244675"/>
                <a:gd name="connsiteX1" fmla="*/ 4587596 w 4707650"/>
                <a:gd name="connsiteY1" fmla="*/ 244675 h 244675"/>
                <a:gd name="connsiteX2" fmla="*/ 4707650 w 4707650"/>
                <a:gd name="connsiteY2" fmla="*/ 5305 h 244675"/>
                <a:gd name="connsiteX3" fmla="*/ 0 w 4707650"/>
                <a:gd name="connsiteY3" fmla="*/ 0 h 244675"/>
                <a:gd name="connsiteX0" fmla="*/ 0 w 4707650"/>
                <a:gd name="connsiteY0" fmla="*/ 410 h 239370"/>
                <a:gd name="connsiteX1" fmla="*/ 4587596 w 4707650"/>
                <a:gd name="connsiteY1" fmla="*/ 239370 h 239370"/>
                <a:gd name="connsiteX2" fmla="*/ 4707650 w 4707650"/>
                <a:gd name="connsiteY2" fmla="*/ 0 h 239370"/>
                <a:gd name="connsiteX3" fmla="*/ 0 w 4707650"/>
                <a:gd name="connsiteY3" fmla="*/ 410 h 239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07650" h="239370">
                  <a:moveTo>
                    <a:pt x="0" y="410"/>
                  </a:moveTo>
                  <a:lnTo>
                    <a:pt x="4587596" y="239370"/>
                  </a:lnTo>
                  <a:lnTo>
                    <a:pt x="4707650" y="0"/>
                  </a:lnTo>
                  <a:lnTo>
                    <a:pt x="0" y="410"/>
                  </a:lnTo>
                  <a:close/>
                </a:path>
              </a:pathLst>
            </a:custGeom>
            <a:solidFill>
              <a:srgbClr val="C3C3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cxnSp>
          <p:nvCxnSpPr>
            <p:cNvPr id="24" name="Přímá spojnice 23"/>
            <p:cNvCxnSpPr/>
            <p:nvPr userDrawn="1"/>
          </p:nvCxnSpPr>
          <p:spPr>
            <a:xfrm flipH="1" flipV="1">
              <a:off x="8389400" y="6966692"/>
              <a:ext cx="2304000" cy="402"/>
            </a:xfrm>
            <a:prstGeom prst="line">
              <a:avLst/>
            </a:prstGeom>
            <a:ln w="6350">
              <a:solidFill>
                <a:srgbClr val="C3C3C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0" name="think-cell Slide" r:id="rId15" imgW="399" imgH="398" progId="TCLayout.ActiveDocument.1">
                  <p:embed/>
                </p:oleObj>
              </mc:Choice>
              <mc:Fallback>
                <p:oleObj name="think-cell Slide" r:id="rId15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342850" y="1439562"/>
            <a:ext cx="10006115" cy="51836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719894" y="7162496"/>
            <a:ext cx="6173596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4"/>
          </p:nvPr>
        </p:nvSpPr>
        <p:spPr>
          <a:xfrm>
            <a:off x="342849" y="7162496"/>
            <a:ext cx="269960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342850" y="360287"/>
            <a:ext cx="10006115" cy="43190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998608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36" r:id="rId2"/>
    <p:sldLayoutId id="214748373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</p:sldLayoutIdLst>
  <p:hf hdr="0" dt="0"/>
  <p:txStyles>
    <p:titleStyle>
      <a:lvl1pPr algn="l" defTabSz="1043056" rtl="0" eaLnBrk="1" latinLnBrk="0" hangingPunct="1">
        <a:lnSpc>
          <a:spcPts val="3200"/>
        </a:lnSpc>
        <a:spcBef>
          <a:spcPct val="0"/>
        </a:spcBef>
        <a:buNone/>
        <a:defRPr sz="2800" b="1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</p:titleStyle>
    <p:bodyStyle>
      <a:lvl1pPr marL="18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  <a:lvl2pPr marL="36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2pPr>
      <a:lvl3pPr marL="54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3pPr>
      <a:lvl4pPr marL="72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4pPr>
      <a:lvl5pPr marL="90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7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39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7" userDrawn="1">
          <p15:clr>
            <a:srgbClr val="F26B43"/>
          </p15:clr>
        </p15:guide>
        <p15:guide id="2" pos="3255" userDrawn="1">
          <p15:clr>
            <a:srgbClr val="F26B43"/>
          </p15:clr>
        </p15:guide>
        <p15:guide id="3" pos="2393" userDrawn="1">
          <p15:clr>
            <a:srgbClr val="F26B43"/>
          </p15:clr>
        </p15:guide>
        <p15:guide id="4" pos="2166" userDrawn="1">
          <p15:clr>
            <a:srgbClr val="F26B43"/>
          </p15:clr>
        </p15:guide>
        <p15:guide id="5" pos="1304" userDrawn="1">
          <p15:clr>
            <a:srgbClr val="F26B43"/>
          </p15:clr>
        </p15:guide>
        <p15:guide id="6" pos="1077" userDrawn="1">
          <p15:clr>
            <a:srgbClr val="F26B43"/>
          </p15:clr>
        </p15:guide>
        <p15:guide id="7" pos="216" userDrawn="1">
          <p15:clr>
            <a:srgbClr val="F26B43"/>
          </p15:clr>
        </p15:guide>
        <p15:guide id="8" pos="3480" userDrawn="1">
          <p15:clr>
            <a:srgbClr val="F26B43"/>
          </p15:clr>
        </p15:guide>
        <p15:guide id="9" pos="4342" userDrawn="1">
          <p15:clr>
            <a:srgbClr val="F26B43"/>
          </p15:clr>
        </p15:guide>
        <p15:guide id="10" pos="4569" userDrawn="1">
          <p15:clr>
            <a:srgbClr val="F26B43"/>
          </p15:clr>
        </p15:guide>
        <p15:guide id="11" pos="5431" userDrawn="1">
          <p15:clr>
            <a:srgbClr val="F26B43"/>
          </p15:clr>
        </p15:guide>
        <p15:guide id="12" pos="5658" userDrawn="1">
          <p15:clr>
            <a:srgbClr val="F26B43"/>
          </p15:clr>
        </p15:guide>
        <p15:guide id="13" pos="6519" userDrawn="1">
          <p15:clr>
            <a:srgbClr val="F26B43"/>
          </p15:clr>
        </p15:guide>
        <p15:guide id="14" orient="horz" pos="907" userDrawn="1">
          <p15:clr>
            <a:srgbClr val="F26B43"/>
          </p15:clr>
        </p15:guide>
        <p15:guide id="15" orient="horz" pos="4172" userDrawn="1">
          <p15:clr>
            <a:srgbClr val="F26B43"/>
          </p15:clr>
        </p15:guide>
        <p15:guide id="16" orient="horz" pos="2471" userDrawn="1">
          <p15:clr>
            <a:srgbClr val="F26B43"/>
          </p15:clr>
        </p15:guide>
        <p15:guide id="17" orient="horz" pos="260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Skupina 12"/>
          <p:cNvGrpSpPr/>
          <p:nvPr userDrawn="1"/>
        </p:nvGrpSpPr>
        <p:grpSpPr>
          <a:xfrm>
            <a:off x="0" y="6961281"/>
            <a:ext cx="10693400" cy="599982"/>
            <a:chOff x="0" y="6961281"/>
            <a:chExt cx="10693400" cy="599982"/>
          </a:xfrm>
        </p:grpSpPr>
        <p:pic>
          <p:nvPicPr>
            <p:cNvPr id="20" name="Obrázek 19"/>
            <p:cNvPicPr>
              <a:picLocks noChangeAspect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23721" y="7084105"/>
              <a:ext cx="1726779" cy="360000"/>
            </a:xfrm>
            <a:prstGeom prst="rect">
              <a:avLst/>
            </a:prstGeom>
          </p:spPr>
        </p:pic>
        <p:sp>
          <p:nvSpPr>
            <p:cNvPr id="21" name="Volný tvar 20"/>
            <p:cNvSpPr/>
            <p:nvPr userDrawn="1"/>
          </p:nvSpPr>
          <p:spPr>
            <a:xfrm>
              <a:off x="0" y="6961281"/>
              <a:ext cx="8444706" cy="599334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599334 h 599334"/>
                <a:gd name="connsiteX1" fmla="*/ 8335151 w 8490871"/>
                <a:gd name="connsiteY1" fmla="*/ 242876 h 599334"/>
                <a:gd name="connsiteX2" fmla="*/ 8455205 w 8490871"/>
                <a:gd name="connsiteY2" fmla="*/ 3506 h 599334"/>
                <a:gd name="connsiteX3" fmla="*/ 159745 w 8490871"/>
                <a:gd name="connsiteY3" fmla="*/ 0 h 599334"/>
                <a:gd name="connsiteX4" fmla="*/ 0 w 8490871"/>
                <a:gd name="connsiteY4" fmla="*/ 599334 h 599334"/>
                <a:gd name="connsiteX5" fmla="*/ 8490871 w 8490871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12236 w 8331126"/>
                <a:gd name="connsiteY4" fmla="*/ 599334 h 599334"/>
                <a:gd name="connsiteX5" fmla="*/ 8331126 w 8331126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2842 w 8331126"/>
                <a:gd name="connsiteY4" fmla="*/ 599334 h 599334"/>
                <a:gd name="connsiteX5" fmla="*/ 8331126 w 8331126"/>
                <a:gd name="connsiteY5" fmla="*/ 599334 h 599334"/>
                <a:gd name="connsiteX0" fmla="*/ 8328482 w 8328482"/>
                <a:gd name="connsiteY0" fmla="*/ 599334 h 599334"/>
                <a:gd name="connsiteX1" fmla="*/ 8172762 w 8328482"/>
                <a:gd name="connsiteY1" fmla="*/ 242876 h 599334"/>
                <a:gd name="connsiteX2" fmla="*/ 8292816 w 8328482"/>
                <a:gd name="connsiteY2" fmla="*/ 3506 h 599334"/>
                <a:gd name="connsiteX3" fmla="*/ 1114 w 8328482"/>
                <a:gd name="connsiteY3" fmla="*/ 0 h 599334"/>
                <a:gd name="connsiteX4" fmla="*/ 198 w 8328482"/>
                <a:gd name="connsiteY4" fmla="*/ 599334 h 599334"/>
                <a:gd name="connsiteX5" fmla="*/ 8328482 w 8328482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  <a:gd name="connsiteX0" fmla="*/ 8328325 w 8328325"/>
                <a:gd name="connsiteY0" fmla="*/ 599334 h 599334"/>
                <a:gd name="connsiteX1" fmla="*/ 8172605 w 8328325"/>
                <a:gd name="connsiteY1" fmla="*/ 242876 h 599334"/>
                <a:gd name="connsiteX2" fmla="*/ 8292659 w 8328325"/>
                <a:gd name="connsiteY2" fmla="*/ 3506 h 599334"/>
                <a:gd name="connsiteX3" fmla="*/ 14110 w 8328325"/>
                <a:gd name="connsiteY3" fmla="*/ 0 h 599334"/>
                <a:gd name="connsiteX4" fmla="*/ 41 w 8328325"/>
                <a:gd name="connsiteY4" fmla="*/ 599334 h 599334"/>
                <a:gd name="connsiteX5" fmla="*/ 8328325 w 8328325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1630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30206 w 8330206"/>
                <a:gd name="connsiteY0" fmla="*/ 599334 h 599334"/>
                <a:gd name="connsiteX1" fmla="*/ 8174486 w 8330206"/>
                <a:gd name="connsiteY1" fmla="*/ 242876 h 599334"/>
                <a:gd name="connsiteX2" fmla="*/ 8294540 w 8330206"/>
                <a:gd name="connsiteY2" fmla="*/ 3506 h 599334"/>
                <a:gd name="connsiteX3" fmla="*/ 960 w 8330206"/>
                <a:gd name="connsiteY3" fmla="*/ 0 h 599334"/>
                <a:gd name="connsiteX4" fmla="*/ 43 w 8330206"/>
                <a:gd name="connsiteY4" fmla="*/ 599334 h 599334"/>
                <a:gd name="connsiteX5" fmla="*/ 8330206 w 8330206"/>
                <a:gd name="connsiteY5" fmla="*/ 599334 h 599334"/>
                <a:gd name="connsiteX0" fmla="*/ 8331125 w 8331125"/>
                <a:gd name="connsiteY0" fmla="*/ 599334 h 599334"/>
                <a:gd name="connsiteX1" fmla="*/ 8175405 w 8331125"/>
                <a:gd name="connsiteY1" fmla="*/ 242876 h 599334"/>
                <a:gd name="connsiteX2" fmla="*/ 8295459 w 8331125"/>
                <a:gd name="connsiteY2" fmla="*/ 3506 h 599334"/>
                <a:gd name="connsiteX3" fmla="*/ 0 w 8331125"/>
                <a:gd name="connsiteY3" fmla="*/ 0 h 599334"/>
                <a:gd name="connsiteX4" fmla="*/ 962 w 8331125"/>
                <a:gd name="connsiteY4" fmla="*/ 599334 h 599334"/>
                <a:gd name="connsiteX5" fmla="*/ 8331125 w 8331125"/>
                <a:gd name="connsiteY5" fmla="*/ 599334 h 599334"/>
                <a:gd name="connsiteX0" fmla="*/ 8330185 w 8330185"/>
                <a:gd name="connsiteY0" fmla="*/ 599334 h 599334"/>
                <a:gd name="connsiteX1" fmla="*/ 8174465 w 8330185"/>
                <a:gd name="connsiteY1" fmla="*/ 242876 h 599334"/>
                <a:gd name="connsiteX2" fmla="*/ 8294519 w 8330185"/>
                <a:gd name="connsiteY2" fmla="*/ 3506 h 599334"/>
                <a:gd name="connsiteX3" fmla="*/ 2818 w 8330185"/>
                <a:gd name="connsiteY3" fmla="*/ 0 h 599334"/>
                <a:gd name="connsiteX4" fmla="*/ 22 w 8330185"/>
                <a:gd name="connsiteY4" fmla="*/ 599334 h 599334"/>
                <a:gd name="connsiteX5" fmla="*/ 8330185 w 8330185"/>
                <a:gd name="connsiteY5" fmla="*/ 599334 h 599334"/>
                <a:gd name="connsiteX0" fmla="*/ 8328328 w 8328328"/>
                <a:gd name="connsiteY0" fmla="*/ 599334 h 599334"/>
                <a:gd name="connsiteX1" fmla="*/ 8172608 w 8328328"/>
                <a:gd name="connsiteY1" fmla="*/ 242876 h 599334"/>
                <a:gd name="connsiteX2" fmla="*/ 8292662 w 8328328"/>
                <a:gd name="connsiteY2" fmla="*/ 3506 h 599334"/>
                <a:gd name="connsiteX3" fmla="*/ 961 w 8328328"/>
                <a:gd name="connsiteY3" fmla="*/ 0 h 599334"/>
                <a:gd name="connsiteX4" fmla="*/ 44 w 8328328"/>
                <a:gd name="connsiteY4" fmla="*/ 599334 h 599334"/>
                <a:gd name="connsiteX5" fmla="*/ 8328328 w 8328328"/>
                <a:gd name="connsiteY5" fmla="*/ 599334 h 599334"/>
                <a:gd name="connsiteX0" fmla="*/ 8327367 w 8327367"/>
                <a:gd name="connsiteY0" fmla="*/ 599334 h 599334"/>
                <a:gd name="connsiteX1" fmla="*/ 8171647 w 8327367"/>
                <a:gd name="connsiteY1" fmla="*/ 242876 h 599334"/>
                <a:gd name="connsiteX2" fmla="*/ 8291701 w 8327367"/>
                <a:gd name="connsiteY2" fmla="*/ 3506 h 599334"/>
                <a:gd name="connsiteX3" fmla="*/ 0 w 8327367"/>
                <a:gd name="connsiteY3" fmla="*/ 0 h 599334"/>
                <a:gd name="connsiteX4" fmla="*/ 962 w 8327367"/>
                <a:gd name="connsiteY4" fmla="*/ 599334 h 599334"/>
                <a:gd name="connsiteX5" fmla="*/ 8327367 w 8327367"/>
                <a:gd name="connsiteY5" fmla="*/ 599334 h 599334"/>
                <a:gd name="connsiteX0" fmla="*/ 8328327 w 8328327"/>
                <a:gd name="connsiteY0" fmla="*/ 599334 h 599334"/>
                <a:gd name="connsiteX1" fmla="*/ 8172607 w 8328327"/>
                <a:gd name="connsiteY1" fmla="*/ 242876 h 599334"/>
                <a:gd name="connsiteX2" fmla="*/ 8292661 w 8328327"/>
                <a:gd name="connsiteY2" fmla="*/ 3506 h 599334"/>
                <a:gd name="connsiteX3" fmla="*/ 960 w 8328327"/>
                <a:gd name="connsiteY3" fmla="*/ 0 h 599334"/>
                <a:gd name="connsiteX4" fmla="*/ 43 w 8328327"/>
                <a:gd name="connsiteY4" fmla="*/ 599334 h 599334"/>
                <a:gd name="connsiteX5" fmla="*/ 8328327 w 8328327"/>
                <a:gd name="connsiteY5" fmla="*/ 599334 h 599334"/>
                <a:gd name="connsiteX0" fmla="*/ 8328285 w 8328285"/>
                <a:gd name="connsiteY0" fmla="*/ 599334 h 599334"/>
                <a:gd name="connsiteX1" fmla="*/ 8172565 w 8328285"/>
                <a:gd name="connsiteY1" fmla="*/ 242876 h 599334"/>
                <a:gd name="connsiteX2" fmla="*/ 8292619 w 8328285"/>
                <a:gd name="connsiteY2" fmla="*/ 3506 h 599334"/>
                <a:gd name="connsiteX3" fmla="*/ 341008 w 8328285"/>
                <a:gd name="connsiteY3" fmla="*/ 0 h 599334"/>
                <a:gd name="connsiteX4" fmla="*/ 1 w 8328285"/>
                <a:gd name="connsiteY4" fmla="*/ 599334 h 599334"/>
                <a:gd name="connsiteX5" fmla="*/ 8328285 w 8328285"/>
                <a:gd name="connsiteY5" fmla="*/ 599334 h 599334"/>
                <a:gd name="connsiteX0" fmla="*/ 7990094 w 7990094"/>
                <a:gd name="connsiteY0" fmla="*/ 599334 h 601239"/>
                <a:gd name="connsiteX1" fmla="*/ 7834374 w 7990094"/>
                <a:gd name="connsiteY1" fmla="*/ 242876 h 601239"/>
                <a:gd name="connsiteX2" fmla="*/ 7954428 w 7990094"/>
                <a:gd name="connsiteY2" fmla="*/ 3506 h 601239"/>
                <a:gd name="connsiteX3" fmla="*/ 2817 w 7990094"/>
                <a:gd name="connsiteY3" fmla="*/ 0 h 601239"/>
                <a:gd name="connsiteX4" fmla="*/ 22 w 7990094"/>
                <a:gd name="connsiteY4" fmla="*/ 601239 h 601239"/>
                <a:gd name="connsiteX5" fmla="*/ 7990094 w 7990094"/>
                <a:gd name="connsiteY5" fmla="*/ 599334 h 601239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7429 h 599334"/>
                <a:gd name="connsiteX5" fmla="*/ 8328284 w 8328284"/>
                <a:gd name="connsiteY5" fmla="*/ 599334 h 599334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9334 h 599334"/>
                <a:gd name="connsiteX5" fmla="*/ 8328284 w 8328284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29247" h="599334">
                  <a:moveTo>
                    <a:pt x="8329247" y="599334"/>
                  </a:moveTo>
                  <a:lnTo>
                    <a:pt x="8173527" y="242876"/>
                  </a:lnTo>
                  <a:lnTo>
                    <a:pt x="8293581" y="3506"/>
                  </a:lnTo>
                  <a:lnTo>
                    <a:pt x="0" y="0"/>
                  </a:lnTo>
                  <a:lnTo>
                    <a:pt x="963" y="599334"/>
                  </a:lnTo>
                  <a:lnTo>
                    <a:pt x="8329247" y="599334"/>
                  </a:lnTo>
                  <a:close/>
                </a:path>
              </a:pathLst>
            </a:custGeom>
            <a:solidFill>
              <a:srgbClr val="DCDC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sp>
          <p:nvSpPr>
            <p:cNvPr id="22" name="Volný tvar 21"/>
            <p:cNvSpPr/>
            <p:nvPr userDrawn="1"/>
          </p:nvSpPr>
          <p:spPr>
            <a:xfrm>
              <a:off x="1907202" y="7204157"/>
              <a:ext cx="6537502" cy="357106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2033595 w 8491108"/>
                <a:gd name="connsiteY2" fmla="*/ 594144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356458 h 356458"/>
                <a:gd name="connsiteX1" fmla="*/ 8335151 w 8490871"/>
                <a:gd name="connsiteY1" fmla="*/ 0 h 356458"/>
                <a:gd name="connsiteX2" fmla="*/ 2033358 w 8490871"/>
                <a:gd name="connsiteY2" fmla="*/ 353296 h 356458"/>
                <a:gd name="connsiteX3" fmla="*/ 0 w 8490871"/>
                <a:gd name="connsiteY3" fmla="*/ 356458 h 356458"/>
                <a:gd name="connsiteX4" fmla="*/ 8490871 w 8490871"/>
                <a:gd name="connsiteY4" fmla="*/ 356458 h 356458"/>
                <a:gd name="connsiteX0" fmla="*/ 6457513 w 6457513"/>
                <a:gd name="connsiteY0" fmla="*/ 356458 h 356458"/>
                <a:gd name="connsiteX1" fmla="*/ 6301793 w 6457513"/>
                <a:gd name="connsiteY1" fmla="*/ 0 h 356458"/>
                <a:gd name="connsiteX2" fmla="*/ 0 w 6457513"/>
                <a:gd name="connsiteY2" fmla="*/ 353296 h 356458"/>
                <a:gd name="connsiteX3" fmla="*/ 6457513 w 6457513"/>
                <a:gd name="connsiteY3" fmla="*/ 356458 h 356458"/>
                <a:gd name="connsiteX0" fmla="*/ 6448118 w 6448118"/>
                <a:gd name="connsiteY0" fmla="*/ 356458 h 357106"/>
                <a:gd name="connsiteX1" fmla="*/ 6292398 w 6448118"/>
                <a:gd name="connsiteY1" fmla="*/ 0 h 357106"/>
                <a:gd name="connsiteX2" fmla="*/ 0 w 6448118"/>
                <a:gd name="connsiteY2" fmla="*/ 357106 h 357106"/>
                <a:gd name="connsiteX3" fmla="*/ 6448118 w 6448118"/>
                <a:gd name="connsiteY3" fmla="*/ 356458 h 357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8118" h="357106">
                  <a:moveTo>
                    <a:pt x="6448118" y="356458"/>
                  </a:moveTo>
                  <a:lnTo>
                    <a:pt x="6292398" y="0"/>
                  </a:lnTo>
                  <a:lnTo>
                    <a:pt x="0" y="357106"/>
                  </a:lnTo>
                  <a:lnTo>
                    <a:pt x="6448118" y="356458"/>
                  </a:lnTo>
                  <a:close/>
                </a:path>
              </a:pathLst>
            </a:custGeom>
            <a:solidFill>
              <a:srgbClr val="B6B6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sp>
          <p:nvSpPr>
            <p:cNvPr id="23" name="Volný tvar 22"/>
            <p:cNvSpPr/>
            <p:nvPr userDrawn="1"/>
          </p:nvSpPr>
          <p:spPr>
            <a:xfrm>
              <a:off x="3635636" y="6964787"/>
              <a:ext cx="4772907" cy="239370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3747792 w 8455442"/>
                <a:gd name="connsiteY0" fmla="*/ 0 h 601133"/>
                <a:gd name="connsiteX1" fmla="*/ 8335388 w 8455442"/>
                <a:gd name="connsiteY1" fmla="*/ 244675 h 601133"/>
                <a:gd name="connsiteX2" fmla="*/ 8455442 w 8455442"/>
                <a:gd name="connsiteY2" fmla="*/ 5305 h 601133"/>
                <a:gd name="connsiteX3" fmla="*/ 0 w 8455442"/>
                <a:gd name="connsiteY3" fmla="*/ 3827 h 601133"/>
                <a:gd name="connsiteX4" fmla="*/ 237 w 8455442"/>
                <a:gd name="connsiteY4" fmla="*/ 601133 h 601133"/>
                <a:gd name="connsiteX5" fmla="*/ 3747792 w 8455442"/>
                <a:gd name="connsiteY5" fmla="*/ 0 h 601133"/>
                <a:gd name="connsiteX0" fmla="*/ 3747792 w 8455442"/>
                <a:gd name="connsiteY0" fmla="*/ 0 h 244675"/>
                <a:gd name="connsiteX1" fmla="*/ 8335388 w 8455442"/>
                <a:gd name="connsiteY1" fmla="*/ 244675 h 244675"/>
                <a:gd name="connsiteX2" fmla="*/ 8455442 w 8455442"/>
                <a:gd name="connsiteY2" fmla="*/ 5305 h 244675"/>
                <a:gd name="connsiteX3" fmla="*/ 0 w 8455442"/>
                <a:gd name="connsiteY3" fmla="*/ 3827 h 244675"/>
                <a:gd name="connsiteX4" fmla="*/ 3747792 w 8455442"/>
                <a:gd name="connsiteY4" fmla="*/ 0 h 244675"/>
                <a:gd name="connsiteX0" fmla="*/ 0 w 4707650"/>
                <a:gd name="connsiteY0" fmla="*/ 0 h 244675"/>
                <a:gd name="connsiteX1" fmla="*/ 4587596 w 4707650"/>
                <a:gd name="connsiteY1" fmla="*/ 244675 h 244675"/>
                <a:gd name="connsiteX2" fmla="*/ 4707650 w 4707650"/>
                <a:gd name="connsiteY2" fmla="*/ 5305 h 244675"/>
                <a:gd name="connsiteX3" fmla="*/ 0 w 4707650"/>
                <a:gd name="connsiteY3" fmla="*/ 0 h 244675"/>
                <a:gd name="connsiteX0" fmla="*/ 0 w 4707650"/>
                <a:gd name="connsiteY0" fmla="*/ 410 h 239370"/>
                <a:gd name="connsiteX1" fmla="*/ 4587596 w 4707650"/>
                <a:gd name="connsiteY1" fmla="*/ 239370 h 239370"/>
                <a:gd name="connsiteX2" fmla="*/ 4707650 w 4707650"/>
                <a:gd name="connsiteY2" fmla="*/ 0 h 239370"/>
                <a:gd name="connsiteX3" fmla="*/ 0 w 4707650"/>
                <a:gd name="connsiteY3" fmla="*/ 410 h 239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07650" h="239370">
                  <a:moveTo>
                    <a:pt x="0" y="410"/>
                  </a:moveTo>
                  <a:lnTo>
                    <a:pt x="4587596" y="239370"/>
                  </a:lnTo>
                  <a:lnTo>
                    <a:pt x="4707650" y="0"/>
                  </a:lnTo>
                  <a:lnTo>
                    <a:pt x="0" y="410"/>
                  </a:lnTo>
                  <a:close/>
                </a:path>
              </a:pathLst>
            </a:custGeom>
            <a:solidFill>
              <a:srgbClr val="C3C3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cxnSp>
          <p:nvCxnSpPr>
            <p:cNvPr id="24" name="Přímá spojnice 23"/>
            <p:cNvCxnSpPr/>
            <p:nvPr userDrawn="1"/>
          </p:nvCxnSpPr>
          <p:spPr>
            <a:xfrm flipH="1" flipV="1">
              <a:off x="8389400" y="6966692"/>
              <a:ext cx="2304000" cy="402"/>
            </a:xfrm>
            <a:prstGeom prst="line">
              <a:avLst/>
            </a:prstGeom>
            <a:ln w="6350">
              <a:solidFill>
                <a:srgbClr val="C3C3C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64581428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6" name="think-cell Slide" r:id="rId15" imgW="399" imgH="398" progId="TCLayout.ActiveDocument.1">
                  <p:embed/>
                </p:oleObj>
              </mc:Choice>
              <mc:Fallback>
                <p:oleObj name="think-cell Slide" r:id="rId15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342850" y="1439562"/>
            <a:ext cx="10006115" cy="51836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719894" y="7162496"/>
            <a:ext cx="6173596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4"/>
          </p:nvPr>
        </p:nvSpPr>
        <p:spPr>
          <a:xfrm>
            <a:off x="342849" y="7162496"/>
            <a:ext cx="269960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342850" y="360287"/>
            <a:ext cx="10006115" cy="43190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cs-CZ" noProof="0" dirty="0"/>
              <a:t>Nadpis (shrnutí stránky)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737" r:id="rId2"/>
    <p:sldLayoutId id="2147483686" r:id="rId3"/>
    <p:sldLayoutId id="2147483691" r:id="rId4"/>
    <p:sldLayoutId id="2147483692" r:id="rId5"/>
    <p:sldLayoutId id="2147483687" r:id="rId6"/>
    <p:sldLayoutId id="2147483688" r:id="rId7"/>
    <p:sldLayoutId id="2147483690" r:id="rId8"/>
    <p:sldLayoutId id="2147483689" r:id="rId9"/>
    <p:sldLayoutId id="2147483685" r:id="rId10"/>
  </p:sldLayoutIdLst>
  <p:hf hdr="0" dt="0"/>
  <p:txStyles>
    <p:titleStyle>
      <a:lvl1pPr algn="l" defTabSz="1043056" rtl="0" eaLnBrk="1" latinLnBrk="0" hangingPunct="1">
        <a:lnSpc>
          <a:spcPts val="3200"/>
        </a:lnSpc>
        <a:spcBef>
          <a:spcPct val="0"/>
        </a:spcBef>
        <a:buNone/>
        <a:defRPr sz="2800" b="1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</p:titleStyle>
    <p:bodyStyle>
      <a:lvl1pPr marL="18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  <a:lvl2pPr marL="36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2pPr>
      <a:lvl3pPr marL="54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3pPr>
      <a:lvl4pPr marL="72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4pPr>
      <a:lvl5pPr marL="90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7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39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7" userDrawn="1">
          <p15:clr>
            <a:srgbClr val="F26B43"/>
          </p15:clr>
        </p15:guide>
        <p15:guide id="2" pos="3255" userDrawn="1">
          <p15:clr>
            <a:srgbClr val="F26B43"/>
          </p15:clr>
        </p15:guide>
        <p15:guide id="3" pos="2393" userDrawn="1">
          <p15:clr>
            <a:srgbClr val="F26B43"/>
          </p15:clr>
        </p15:guide>
        <p15:guide id="4" pos="2166" userDrawn="1">
          <p15:clr>
            <a:srgbClr val="F26B43"/>
          </p15:clr>
        </p15:guide>
        <p15:guide id="5" pos="1304" userDrawn="1">
          <p15:clr>
            <a:srgbClr val="F26B43"/>
          </p15:clr>
        </p15:guide>
        <p15:guide id="6" pos="1077" userDrawn="1">
          <p15:clr>
            <a:srgbClr val="F26B43"/>
          </p15:clr>
        </p15:guide>
        <p15:guide id="7" pos="216" userDrawn="1">
          <p15:clr>
            <a:srgbClr val="F26B43"/>
          </p15:clr>
        </p15:guide>
        <p15:guide id="8" pos="3480" userDrawn="1">
          <p15:clr>
            <a:srgbClr val="F26B43"/>
          </p15:clr>
        </p15:guide>
        <p15:guide id="9" pos="4342" userDrawn="1">
          <p15:clr>
            <a:srgbClr val="F26B43"/>
          </p15:clr>
        </p15:guide>
        <p15:guide id="10" pos="4569" userDrawn="1">
          <p15:clr>
            <a:srgbClr val="F26B43"/>
          </p15:clr>
        </p15:guide>
        <p15:guide id="11" pos="5431" userDrawn="1">
          <p15:clr>
            <a:srgbClr val="F26B43"/>
          </p15:clr>
        </p15:guide>
        <p15:guide id="12" pos="5658" userDrawn="1">
          <p15:clr>
            <a:srgbClr val="F26B43"/>
          </p15:clr>
        </p15:guide>
        <p15:guide id="13" pos="6519" userDrawn="1">
          <p15:clr>
            <a:srgbClr val="F26B43"/>
          </p15:clr>
        </p15:guide>
        <p15:guide id="14" orient="horz" pos="907" userDrawn="1">
          <p15:clr>
            <a:srgbClr val="F26B43"/>
          </p15:clr>
        </p15:guide>
        <p15:guide id="15" orient="horz" pos="4172" userDrawn="1">
          <p15:clr>
            <a:srgbClr val="F26B43"/>
          </p15:clr>
        </p15:guide>
        <p15:guide id="16" orient="horz" pos="2471" userDrawn="1">
          <p15:clr>
            <a:srgbClr val="F26B43"/>
          </p15:clr>
        </p15:guide>
        <p15:guide id="17" orient="horz" pos="2607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Skupina 12"/>
          <p:cNvGrpSpPr/>
          <p:nvPr userDrawn="1"/>
        </p:nvGrpSpPr>
        <p:grpSpPr>
          <a:xfrm>
            <a:off x="0" y="6961281"/>
            <a:ext cx="10693400" cy="599982"/>
            <a:chOff x="0" y="6961281"/>
            <a:chExt cx="10693400" cy="599982"/>
          </a:xfrm>
        </p:grpSpPr>
        <p:pic>
          <p:nvPicPr>
            <p:cNvPr id="20" name="Obrázek 19"/>
            <p:cNvPicPr>
              <a:picLocks noChangeAspect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23721" y="7084105"/>
              <a:ext cx="1726779" cy="360000"/>
            </a:xfrm>
            <a:prstGeom prst="rect">
              <a:avLst/>
            </a:prstGeom>
          </p:spPr>
        </p:pic>
        <p:sp>
          <p:nvSpPr>
            <p:cNvPr id="21" name="Volný tvar 20"/>
            <p:cNvSpPr/>
            <p:nvPr userDrawn="1"/>
          </p:nvSpPr>
          <p:spPr>
            <a:xfrm>
              <a:off x="0" y="6961281"/>
              <a:ext cx="8444706" cy="599334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599334 h 599334"/>
                <a:gd name="connsiteX1" fmla="*/ 8335151 w 8490871"/>
                <a:gd name="connsiteY1" fmla="*/ 242876 h 599334"/>
                <a:gd name="connsiteX2" fmla="*/ 8455205 w 8490871"/>
                <a:gd name="connsiteY2" fmla="*/ 3506 h 599334"/>
                <a:gd name="connsiteX3" fmla="*/ 159745 w 8490871"/>
                <a:gd name="connsiteY3" fmla="*/ 0 h 599334"/>
                <a:gd name="connsiteX4" fmla="*/ 0 w 8490871"/>
                <a:gd name="connsiteY4" fmla="*/ 599334 h 599334"/>
                <a:gd name="connsiteX5" fmla="*/ 8490871 w 8490871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12236 w 8331126"/>
                <a:gd name="connsiteY4" fmla="*/ 599334 h 599334"/>
                <a:gd name="connsiteX5" fmla="*/ 8331126 w 8331126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2842 w 8331126"/>
                <a:gd name="connsiteY4" fmla="*/ 599334 h 599334"/>
                <a:gd name="connsiteX5" fmla="*/ 8331126 w 8331126"/>
                <a:gd name="connsiteY5" fmla="*/ 599334 h 599334"/>
                <a:gd name="connsiteX0" fmla="*/ 8328482 w 8328482"/>
                <a:gd name="connsiteY0" fmla="*/ 599334 h 599334"/>
                <a:gd name="connsiteX1" fmla="*/ 8172762 w 8328482"/>
                <a:gd name="connsiteY1" fmla="*/ 242876 h 599334"/>
                <a:gd name="connsiteX2" fmla="*/ 8292816 w 8328482"/>
                <a:gd name="connsiteY2" fmla="*/ 3506 h 599334"/>
                <a:gd name="connsiteX3" fmla="*/ 1114 w 8328482"/>
                <a:gd name="connsiteY3" fmla="*/ 0 h 599334"/>
                <a:gd name="connsiteX4" fmla="*/ 198 w 8328482"/>
                <a:gd name="connsiteY4" fmla="*/ 599334 h 599334"/>
                <a:gd name="connsiteX5" fmla="*/ 8328482 w 8328482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  <a:gd name="connsiteX0" fmla="*/ 8328325 w 8328325"/>
                <a:gd name="connsiteY0" fmla="*/ 599334 h 599334"/>
                <a:gd name="connsiteX1" fmla="*/ 8172605 w 8328325"/>
                <a:gd name="connsiteY1" fmla="*/ 242876 h 599334"/>
                <a:gd name="connsiteX2" fmla="*/ 8292659 w 8328325"/>
                <a:gd name="connsiteY2" fmla="*/ 3506 h 599334"/>
                <a:gd name="connsiteX3" fmla="*/ 14110 w 8328325"/>
                <a:gd name="connsiteY3" fmla="*/ 0 h 599334"/>
                <a:gd name="connsiteX4" fmla="*/ 41 w 8328325"/>
                <a:gd name="connsiteY4" fmla="*/ 599334 h 599334"/>
                <a:gd name="connsiteX5" fmla="*/ 8328325 w 8328325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1630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30206 w 8330206"/>
                <a:gd name="connsiteY0" fmla="*/ 599334 h 599334"/>
                <a:gd name="connsiteX1" fmla="*/ 8174486 w 8330206"/>
                <a:gd name="connsiteY1" fmla="*/ 242876 h 599334"/>
                <a:gd name="connsiteX2" fmla="*/ 8294540 w 8330206"/>
                <a:gd name="connsiteY2" fmla="*/ 3506 h 599334"/>
                <a:gd name="connsiteX3" fmla="*/ 960 w 8330206"/>
                <a:gd name="connsiteY3" fmla="*/ 0 h 599334"/>
                <a:gd name="connsiteX4" fmla="*/ 43 w 8330206"/>
                <a:gd name="connsiteY4" fmla="*/ 599334 h 599334"/>
                <a:gd name="connsiteX5" fmla="*/ 8330206 w 8330206"/>
                <a:gd name="connsiteY5" fmla="*/ 599334 h 599334"/>
                <a:gd name="connsiteX0" fmla="*/ 8331125 w 8331125"/>
                <a:gd name="connsiteY0" fmla="*/ 599334 h 599334"/>
                <a:gd name="connsiteX1" fmla="*/ 8175405 w 8331125"/>
                <a:gd name="connsiteY1" fmla="*/ 242876 h 599334"/>
                <a:gd name="connsiteX2" fmla="*/ 8295459 w 8331125"/>
                <a:gd name="connsiteY2" fmla="*/ 3506 h 599334"/>
                <a:gd name="connsiteX3" fmla="*/ 0 w 8331125"/>
                <a:gd name="connsiteY3" fmla="*/ 0 h 599334"/>
                <a:gd name="connsiteX4" fmla="*/ 962 w 8331125"/>
                <a:gd name="connsiteY4" fmla="*/ 599334 h 599334"/>
                <a:gd name="connsiteX5" fmla="*/ 8331125 w 8331125"/>
                <a:gd name="connsiteY5" fmla="*/ 599334 h 599334"/>
                <a:gd name="connsiteX0" fmla="*/ 8330185 w 8330185"/>
                <a:gd name="connsiteY0" fmla="*/ 599334 h 599334"/>
                <a:gd name="connsiteX1" fmla="*/ 8174465 w 8330185"/>
                <a:gd name="connsiteY1" fmla="*/ 242876 h 599334"/>
                <a:gd name="connsiteX2" fmla="*/ 8294519 w 8330185"/>
                <a:gd name="connsiteY2" fmla="*/ 3506 h 599334"/>
                <a:gd name="connsiteX3" fmla="*/ 2818 w 8330185"/>
                <a:gd name="connsiteY3" fmla="*/ 0 h 599334"/>
                <a:gd name="connsiteX4" fmla="*/ 22 w 8330185"/>
                <a:gd name="connsiteY4" fmla="*/ 599334 h 599334"/>
                <a:gd name="connsiteX5" fmla="*/ 8330185 w 8330185"/>
                <a:gd name="connsiteY5" fmla="*/ 599334 h 599334"/>
                <a:gd name="connsiteX0" fmla="*/ 8328328 w 8328328"/>
                <a:gd name="connsiteY0" fmla="*/ 599334 h 599334"/>
                <a:gd name="connsiteX1" fmla="*/ 8172608 w 8328328"/>
                <a:gd name="connsiteY1" fmla="*/ 242876 h 599334"/>
                <a:gd name="connsiteX2" fmla="*/ 8292662 w 8328328"/>
                <a:gd name="connsiteY2" fmla="*/ 3506 h 599334"/>
                <a:gd name="connsiteX3" fmla="*/ 961 w 8328328"/>
                <a:gd name="connsiteY3" fmla="*/ 0 h 599334"/>
                <a:gd name="connsiteX4" fmla="*/ 44 w 8328328"/>
                <a:gd name="connsiteY4" fmla="*/ 599334 h 599334"/>
                <a:gd name="connsiteX5" fmla="*/ 8328328 w 8328328"/>
                <a:gd name="connsiteY5" fmla="*/ 599334 h 599334"/>
                <a:gd name="connsiteX0" fmla="*/ 8327367 w 8327367"/>
                <a:gd name="connsiteY0" fmla="*/ 599334 h 599334"/>
                <a:gd name="connsiteX1" fmla="*/ 8171647 w 8327367"/>
                <a:gd name="connsiteY1" fmla="*/ 242876 h 599334"/>
                <a:gd name="connsiteX2" fmla="*/ 8291701 w 8327367"/>
                <a:gd name="connsiteY2" fmla="*/ 3506 h 599334"/>
                <a:gd name="connsiteX3" fmla="*/ 0 w 8327367"/>
                <a:gd name="connsiteY3" fmla="*/ 0 h 599334"/>
                <a:gd name="connsiteX4" fmla="*/ 962 w 8327367"/>
                <a:gd name="connsiteY4" fmla="*/ 599334 h 599334"/>
                <a:gd name="connsiteX5" fmla="*/ 8327367 w 8327367"/>
                <a:gd name="connsiteY5" fmla="*/ 599334 h 599334"/>
                <a:gd name="connsiteX0" fmla="*/ 8328327 w 8328327"/>
                <a:gd name="connsiteY0" fmla="*/ 599334 h 599334"/>
                <a:gd name="connsiteX1" fmla="*/ 8172607 w 8328327"/>
                <a:gd name="connsiteY1" fmla="*/ 242876 h 599334"/>
                <a:gd name="connsiteX2" fmla="*/ 8292661 w 8328327"/>
                <a:gd name="connsiteY2" fmla="*/ 3506 h 599334"/>
                <a:gd name="connsiteX3" fmla="*/ 960 w 8328327"/>
                <a:gd name="connsiteY3" fmla="*/ 0 h 599334"/>
                <a:gd name="connsiteX4" fmla="*/ 43 w 8328327"/>
                <a:gd name="connsiteY4" fmla="*/ 599334 h 599334"/>
                <a:gd name="connsiteX5" fmla="*/ 8328327 w 8328327"/>
                <a:gd name="connsiteY5" fmla="*/ 599334 h 599334"/>
                <a:gd name="connsiteX0" fmla="*/ 8328285 w 8328285"/>
                <a:gd name="connsiteY0" fmla="*/ 599334 h 599334"/>
                <a:gd name="connsiteX1" fmla="*/ 8172565 w 8328285"/>
                <a:gd name="connsiteY1" fmla="*/ 242876 h 599334"/>
                <a:gd name="connsiteX2" fmla="*/ 8292619 w 8328285"/>
                <a:gd name="connsiteY2" fmla="*/ 3506 h 599334"/>
                <a:gd name="connsiteX3" fmla="*/ 341008 w 8328285"/>
                <a:gd name="connsiteY3" fmla="*/ 0 h 599334"/>
                <a:gd name="connsiteX4" fmla="*/ 1 w 8328285"/>
                <a:gd name="connsiteY4" fmla="*/ 599334 h 599334"/>
                <a:gd name="connsiteX5" fmla="*/ 8328285 w 8328285"/>
                <a:gd name="connsiteY5" fmla="*/ 599334 h 599334"/>
                <a:gd name="connsiteX0" fmla="*/ 7990094 w 7990094"/>
                <a:gd name="connsiteY0" fmla="*/ 599334 h 601239"/>
                <a:gd name="connsiteX1" fmla="*/ 7834374 w 7990094"/>
                <a:gd name="connsiteY1" fmla="*/ 242876 h 601239"/>
                <a:gd name="connsiteX2" fmla="*/ 7954428 w 7990094"/>
                <a:gd name="connsiteY2" fmla="*/ 3506 h 601239"/>
                <a:gd name="connsiteX3" fmla="*/ 2817 w 7990094"/>
                <a:gd name="connsiteY3" fmla="*/ 0 h 601239"/>
                <a:gd name="connsiteX4" fmla="*/ 22 w 7990094"/>
                <a:gd name="connsiteY4" fmla="*/ 601239 h 601239"/>
                <a:gd name="connsiteX5" fmla="*/ 7990094 w 7990094"/>
                <a:gd name="connsiteY5" fmla="*/ 599334 h 601239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7429 h 599334"/>
                <a:gd name="connsiteX5" fmla="*/ 8328284 w 8328284"/>
                <a:gd name="connsiteY5" fmla="*/ 599334 h 599334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9334 h 599334"/>
                <a:gd name="connsiteX5" fmla="*/ 8328284 w 8328284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29247" h="599334">
                  <a:moveTo>
                    <a:pt x="8329247" y="599334"/>
                  </a:moveTo>
                  <a:lnTo>
                    <a:pt x="8173527" y="242876"/>
                  </a:lnTo>
                  <a:lnTo>
                    <a:pt x="8293581" y="3506"/>
                  </a:lnTo>
                  <a:lnTo>
                    <a:pt x="0" y="0"/>
                  </a:lnTo>
                  <a:lnTo>
                    <a:pt x="963" y="599334"/>
                  </a:lnTo>
                  <a:lnTo>
                    <a:pt x="8329247" y="599334"/>
                  </a:lnTo>
                  <a:close/>
                </a:path>
              </a:pathLst>
            </a:custGeom>
            <a:solidFill>
              <a:srgbClr val="DCDC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sp>
          <p:nvSpPr>
            <p:cNvPr id="22" name="Volný tvar 21"/>
            <p:cNvSpPr/>
            <p:nvPr userDrawn="1"/>
          </p:nvSpPr>
          <p:spPr>
            <a:xfrm>
              <a:off x="1907202" y="7204157"/>
              <a:ext cx="6537502" cy="357106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2033595 w 8491108"/>
                <a:gd name="connsiteY2" fmla="*/ 594144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356458 h 356458"/>
                <a:gd name="connsiteX1" fmla="*/ 8335151 w 8490871"/>
                <a:gd name="connsiteY1" fmla="*/ 0 h 356458"/>
                <a:gd name="connsiteX2" fmla="*/ 2033358 w 8490871"/>
                <a:gd name="connsiteY2" fmla="*/ 353296 h 356458"/>
                <a:gd name="connsiteX3" fmla="*/ 0 w 8490871"/>
                <a:gd name="connsiteY3" fmla="*/ 356458 h 356458"/>
                <a:gd name="connsiteX4" fmla="*/ 8490871 w 8490871"/>
                <a:gd name="connsiteY4" fmla="*/ 356458 h 356458"/>
                <a:gd name="connsiteX0" fmla="*/ 6457513 w 6457513"/>
                <a:gd name="connsiteY0" fmla="*/ 356458 h 356458"/>
                <a:gd name="connsiteX1" fmla="*/ 6301793 w 6457513"/>
                <a:gd name="connsiteY1" fmla="*/ 0 h 356458"/>
                <a:gd name="connsiteX2" fmla="*/ 0 w 6457513"/>
                <a:gd name="connsiteY2" fmla="*/ 353296 h 356458"/>
                <a:gd name="connsiteX3" fmla="*/ 6457513 w 6457513"/>
                <a:gd name="connsiteY3" fmla="*/ 356458 h 356458"/>
                <a:gd name="connsiteX0" fmla="*/ 6448118 w 6448118"/>
                <a:gd name="connsiteY0" fmla="*/ 356458 h 357106"/>
                <a:gd name="connsiteX1" fmla="*/ 6292398 w 6448118"/>
                <a:gd name="connsiteY1" fmla="*/ 0 h 357106"/>
                <a:gd name="connsiteX2" fmla="*/ 0 w 6448118"/>
                <a:gd name="connsiteY2" fmla="*/ 357106 h 357106"/>
                <a:gd name="connsiteX3" fmla="*/ 6448118 w 6448118"/>
                <a:gd name="connsiteY3" fmla="*/ 356458 h 357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8118" h="357106">
                  <a:moveTo>
                    <a:pt x="6448118" y="356458"/>
                  </a:moveTo>
                  <a:lnTo>
                    <a:pt x="6292398" y="0"/>
                  </a:lnTo>
                  <a:lnTo>
                    <a:pt x="0" y="357106"/>
                  </a:lnTo>
                  <a:lnTo>
                    <a:pt x="6448118" y="356458"/>
                  </a:lnTo>
                  <a:close/>
                </a:path>
              </a:pathLst>
            </a:custGeom>
            <a:solidFill>
              <a:srgbClr val="B6B6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sp>
          <p:nvSpPr>
            <p:cNvPr id="23" name="Volný tvar 22"/>
            <p:cNvSpPr/>
            <p:nvPr userDrawn="1"/>
          </p:nvSpPr>
          <p:spPr>
            <a:xfrm>
              <a:off x="3635636" y="6964787"/>
              <a:ext cx="4772907" cy="239370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3747792 w 8455442"/>
                <a:gd name="connsiteY0" fmla="*/ 0 h 601133"/>
                <a:gd name="connsiteX1" fmla="*/ 8335388 w 8455442"/>
                <a:gd name="connsiteY1" fmla="*/ 244675 h 601133"/>
                <a:gd name="connsiteX2" fmla="*/ 8455442 w 8455442"/>
                <a:gd name="connsiteY2" fmla="*/ 5305 h 601133"/>
                <a:gd name="connsiteX3" fmla="*/ 0 w 8455442"/>
                <a:gd name="connsiteY3" fmla="*/ 3827 h 601133"/>
                <a:gd name="connsiteX4" fmla="*/ 237 w 8455442"/>
                <a:gd name="connsiteY4" fmla="*/ 601133 h 601133"/>
                <a:gd name="connsiteX5" fmla="*/ 3747792 w 8455442"/>
                <a:gd name="connsiteY5" fmla="*/ 0 h 601133"/>
                <a:gd name="connsiteX0" fmla="*/ 3747792 w 8455442"/>
                <a:gd name="connsiteY0" fmla="*/ 0 h 244675"/>
                <a:gd name="connsiteX1" fmla="*/ 8335388 w 8455442"/>
                <a:gd name="connsiteY1" fmla="*/ 244675 h 244675"/>
                <a:gd name="connsiteX2" fmla="*/ 8455442 w 8455442"/>
                <a:gd name="connsiteY2" fmla="*/ 5305 h 244675"/>
                <a:gd name="connsiteX3" fmla="*/ 0 w 8455442"/>
                <a:gd name="connsiteY3" fmla="*/ 3827 h 244675"/>
                <a:gd name="connsiteX4" fmla="*/ 3747792 w 8455442"/>
                <a:gd name="connsiteY4" fmla="*/ 0 h 244675"/>
                <a:gd name="connsiteX0" fmla="*/ 0 w 4707650"/>
                <a:gd name="connsiteY0" fmla="*/ 0 h 244675"/>
                <a:gd name="connsiteX1" fmla="*/ 4587596 w 4707650"/>
                <a:gd name="connsiteY1" fmla="*/ 244675 h 244675"/>
                <a:gd name="connsiteX2" fmla="*/ 4707650 w 4707650"/>
                <a:gd name="connsiteY2" fmla="*/ 5305 h 244675"/>
                <a:gd name="connsiteX3" fmla="*/ 0 w 4707650"/>
                <a:gd name="connsiteY3" fmla="*/ 0 h 244675"/>
                <a:gd name="connsiteX0" fmla="*/ 0 w 4707650"/>
                <a:gd name="connsiteY0" fmla="*/ 410 h 239370"/>
                <a:gd name="connsiteX1" fmla="*/ 4587596 w 4707650"/>
                <a:gd name="connsiteY1" fmla="*/ 239370 h 239370"/>
                <a:gd name="connsiteX2" fmla="*/ 4707650 w 4707650"/>
                <a:gd name="connsiteY2" fmla="*/ 0 h 239370"/>
                <a:gd name="connsiteX3" fmla="*/ 0 w 4707650"/>
                <a:gd name="connsiteY3" fmla="*/ 410 h 239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07650" h="239370">
                  <a:moveTo>
                    <a:pt x="0" y="410"/>
                  </a:moveTo>
                  <a:lnTo>
                    <a:pt x="4587596" y="239370"/>
                  </a:lnTo>
                  <a:lnTo>
                    <a:pt x="4707650" y="0"/>
                  </a:lnTo>
                  <a:lnTo>
                    <a:pt x="0" y="410"/>
                  </a:lnTo>
                  <a:close/>
                </a:path>
              </a:pathLst>
            </a:custGeom>
            <a:solidFill>
              <a:srgbClr val="C3C3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cxnSp>
          <p:nvCxnSpPr>
            <p:cNvPr id="24" name="Přímá spojnice 23"/>
            <p:cNvCxnSpPr/>
            <p:nvPr userDrawn="1"/>
          </p:nvCxnSpPr>
          <p:spPr>
            <a:xfrm flipH="1" flipV="1">
              <a:off x="8389400" y="6966692"/>
              <a:ext cx="2304000" cy="402"/>
            </a:xfrm>
            <a:prstGeom prst="line">
              <a:avLst/>
            </a:prstGeom>
            <a:ln w="6350">
              <a:solidFill>
                <a:srgbClr val="C3C3C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7" name="think-cell Slide" r:id="rId15" imgW="399" imgH="398" progId="TCLayout.ActiveDocument.1">
                  <p:embed/>
                </p:oleObj>
              </mc:Choice>
              <mc:Fallback>
                <p:oleObj name="think-cell Slide" r:id="rId15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342850" y="1439562"/>
            <a:ext cx="10006115" cy="51836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719894" y="7162496"/>
            <a:ext cx="6173596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4"/>
          </p:nvPr>
        </p:nvSpPr>
        <p:spPr>
          <a:xfrm>
            <a:off x="342849" y="7162496"/>
            <a:ext cx="269960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342850" y="360287"/>
            <a:ext cx="10006115" cy="43190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1541384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738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</p:sldLayoutIdLst>
  <p:hf hdr="0" dt="0"/>
  <p:txStyles>
    <p:titleStyle>
      <a:lvl1pPr algn="l" defTabSz="1043056" rtl="0" eaLnBrk="1" latinLnBrk="0" hangingPunct="1">
        <a:lnSpc>
          <a:spcPts val="3200"/>
        </a:lnSpc>
        <a:spcBef>
          <a:spcPct val="0"/>
        </a:spcBef>
        <a:buNone/>
        <a:defRPr sz="2800" b="1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</p:titleStyle>
    <p:bodyStyle>
      <a:lvl1pPr marL="18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  <a:lvl2pPr marL="36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2pPr>
      <a:lvl3pPr marL="54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3pPr>
      <a:lvl4pPr marL="72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4pPr>
      <a:lvl5pPr marL="90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7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39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7" userDrawn="1">
          <p15:clr>
            <a:srgbClr val="F26B43"/>
          </p15:clr>
        </p15:guide>
        <p15:guide id="2" pos="3255" userDrawn="1">
          <p15:clr>
            <a:srgbClr val="F26B43"/>
          </p15:clr>
        </p15:guide>
        <p15:guide id="3" pos="2393" userDrawn="1">
          <p15:clr>
            <a:srgbClr val="F26B43"/>
          </p15:clr>
        </p15:guide>
        <p15:guide id="4" pos="2166" userDrawn="1">
          <p15:clr>
            <a:srgbClr val="F26B43"/>
          </p15:clr>
        </p15:guide>
        <p15:guide id="5" pos="1304" userDrawn="1">
          <p15:clr>
            <a:srgbClr val="F26B43"/>
          </p15:clr>
        </p15:guide>
        <p15:guide id="6" pos="1077" userDrawn="1">
          <p15:clr>
            <a:srgbClr val="F26B43"/>
          </p15:clr>
        </p15:guide>
        <p15:guide id="7" pos="216" userDrawn="1">
          <p15:clr>
            <a:srgbClr val="F26B43"/>
          </p15:clr>
        </p15:guide>
        <p15:guide id="8" pos="3480" userDrawn="1">
          <p15:clr>
            <a:srgbClr val="F26B43"/>
          </p15:clr>
        </p15:guide>
        <p15:guide id="9" pos="4342" userDrawn="1">
          <p15:clr>
            <a:srgbClr val="F26B43"/>
          </p15:clr>
        </p15:guide>
        <p15:guide id="10" pos="4569" userDrawn="1">
          <p15:clr>
            <a:srgbClr val="F26B43"/>
          </p15:clr>
        </p15:guide>
        <p15:guide id="11" pos="5431" userDrawn="1">
          <p15:clr>
            <a:srgbClr val="F26B43"/>
          </p15:clr>
        </p15:guide>
        <p15:guide id="12" pos="5658" userDrawn="1">
          <p15:clr>
            <a:srgbClr val="F26B43"/>
          </p15:clr>
        </p15:guide>
        <p15:guide id="13" pos="6519" userDrawn="1">
          <p15:clr>
            <a:srgbClr val="F26B43"/>
          </p15:clr>
        </p15:guide>
        <p15:guide id="14" orient="horz" pos="907" userDrawn="1">
          <p15:clr>
            <a:srgbClr val="F26B43"/>
          </p15:clr>
        </p15:guide>
        <p15:guide id="15" orient="horz" pos="4172" userDrawn="1">
          <p15:clr>
            <a:srgbClr val="F26B43"/>
          </p15:clr>
        </p15:guide>
        <p15:guide id="16" orient="horz" pos="2471" userDrawn="1">
          <p15:clr>
            <a:srgbClr val="F26B43"/>
          </p15:clr>
        </p15:guide>
        <p15:guide id="17" orient="horz" pos="2607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Skupina 12"/>
          <p:cNvGrpSpPr/>
          <p:nvPr userDrawn="1"/>
        </p:nvGrpSpPr>
        <p:grpSpPr>
          <a:xfrm>
            <a:off x="0" y="6961281"/>
            <a:ext cx="10693400" cy="599982"/>
            <a:chOff x="0" y="6961281"/>
            <a:chExt cx="10693400" cy="599982"/>
          </a:xfrm>
        </p:grpSpPr>
        <p:pic>
          <p:nvPicPr>
            <p:cNvPr id="20" name="Obrázek 19"/>
            <p:cNvPicPr>
              <a:picLocks noChangeAspect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23721" y="7084105"/>
              <a:ext cx="1726779" cy="360000"/>
            </a:xfrm>
            <a:prstGeom prst="rect">
              <a:avLst/>
            </a:prstGeom>
          </p:spPr>
        </p:pic>
        <p:sp>
          <p:nvSpPr>
            <p:cNvPr id="21" name="Volný tvar 20"/>
            <p:cNvSpPr/>
            <p:nvPr userDrawn="1"/>
          </p:nvSpPr>
          <p:spPr>
            <a:xfrm>
              <a:off x="0" y="6961281"/>
              <a:ext cx="8444706" cy="599334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599334 h 599334"/>
                <a:gd name="connsiteX1" fmla="*/ 8335151 w 8490871"/>
                <a:gd name="connsiteY1" fmla="*/ 242876 h 599334"/>
                <a:gd name="connsiteX2" fmla="*/ 8455205 w 8490871"/>
                <a:gd name="connsiteY2" fmla="*/ 3506 h 599334"/>
                <a:gd name="connsiteX3" fmla="*/ 159745 w 8490871"/>
                <a:gd name="connsiteY3" fmla="*/ 0 h 599334"/>
                <a:gd name="connsiteX4" fmla="*/ 0 w 8490871"/>
                <a:gd name="connsiteY4" fmla="*/ 599334 h 599334"/>
                <a:gd name="connsiteX5" fmla="*/ 8490871 w 8490871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12236 w 8331126"/>
                <a:gd name="connsiteY4" fmla="*/ 599334 h 599334"/>
                <a:gd name="connsiteX5" fmla="*/ 8331126 w 8331126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2842 w 8331126"/>
                <a:gd name="connsiteY4" fmla="*/ 599334 h 599334"/>
                <a:gd name="connsiteX5" fmla="*/ 8331126 w 8331126"/>
                <a:gd name="connsiteY5" fmla="*/ 599334 h 599334"/>
                <a:gd name="connsiteX0" fmla="*/ 8328482 w 8328482"/>
                <a:gd name="connsiteY0" fmla="*/ 599334 h 599334"/>
                <a:gd name="connsiteX1" fmla="*/ 8172762 w 8328482"/>
                <a:gd name="connsiteY1" fmla="*/ 242876 h 599334"/>
                <a:gd name="connsiteX2" fmla="*/ 8292816 w 8328482"/>
                <a:gd name="connsiteY2" fmla="*/ 3506 h 599334"/>
                <a:gd name="connsiteX3" fmla="*/ 1114 w 8328482"/>
                <a:gd name="connsiteY3" fmla="*/ 0 h 599334"/>
                <a:gd name="connsiteX4" fmla="*/ 198 w 8328482"/>
                <a:gd name="connsiteY4" fmla="*/ 599334 h 599334"/>
                <a:gd name="connsiteX5" fmla="*/ 8328482 w 8328482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  <a:gd name="connsiteX0" fmla="*/ 8328325 w 8328325"/>
                <a:gd name="connsiteY0" fmla="*/ 599334 h 599334"/>
                <a:gd name="connsiteX1" fmla="*/ 8172605 w 8328325"/>
                <a:gd name="connsiteY1" fmla="*/ 242876 h 599334"/>
                <a:gd name="connsiteX2" fmla="*/ 8292659 w 8328325"/>
                <a:gd name="connsiteY2" fmla="*/ 3506 h 599334"/>
                <a:gd name="connsiteX3" fmla="*/ 14110 w 8328325"/>
                <a:gd name="connsiteY3" fmla="*/ 0 h 599334"/>
                <a:gd name="connsiteX4" fmla="*/ 41 w 8328325"/>
                <a:gd name="connsiteY4" fmla="*/ 599334 h 599334"/>
                <a:gd name="connsiteX5" fmla="*/ 8328325 w 8328325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1630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30206 w 8330206"/>
                <a:gd name="connsiteY0" fmla="*/ 599334 h 599334"/>
                <a:gd name="connsiteX1" fmla="*/ 8174486 w 8330206"/>
                <a:gd name="connsiteY1" fmla="*/ 242876 h 599334"/>
                <a:gd name="connsiteX2" fmla="*/ 8294540 w 8330206"/>
                <a:gd name="connsiteY2" fmla="*/ 3506 h 599334"/>
                <a:gd name="connsiteX3" fmla="*/ 960 w 8330206"/>
                <a:gd name="connsiteY3" fmla="*/ 0 h 599334"/>
                <a:gd name="connsiteX4" fmla="*/ 43 w 8330206"/>
                <a:gd name="connsiteY4" fmla="*/ 599334 h 599334"/>
                <a:gd name="connsiteX5" fmla="*/ 8330206 w 8330206"/>
                <a:gd name="connsiteY5" fmla="*/ 599334 h 599334"/>
                <a:gd name="connsiteX0" fmla="*/ 8331125 w 8331125"/>
                <a:gd name="connsiteY0" fmla="*/ 599334 h 599334"/>
                <a:gd name="connsiteX1" fmla="*/ 8175405 w 8331125"/>
                <a:gd name="connsiteY1" fmla="*/ 242876 h 599334"/>
                <a:gd name="connsiteX2" fmla="*/ 8295459 w 8331125"/>
                <a:gd name="connsiteY2" fmla="*/ 3506 h 599334"/>
                <a:gd name="connsiteX3" fmla="*/ 0 w 8331125"/>
                <a:gd name="connsiteY3" fmla="*/ 0 h 599334"/>
                <a:gd name="connsiteX4" fmla="*/ 962 w 8331125"/>
                <a:gd name="connsiteY4" fmla="*/ 599334 h 599334"/>
                <a:gd name="connsiteX5" fmla="*/ 8331125 w 8331125"/>
                <a:gd name="connsiteY5" fmla="*/ 599334 h 599334"/>
                <a:gd name="connsiteX0" fmla="*/ 8330185 w 8330185"/>
                <a:gd name="connsiteY0" fmla="*/ 599334 h 599334"/>
                <a:gd name="connsiteX1" fmla="*/ 8174465 w 8330185"/>
                <a:gd name="connsiteY1" fmla="*/ 242876 h 599334"/>
                <a:gd name="connsiteX2" fmla="*/ 8294519 w 8330185"/>
                <a:gd name="connsiteY2" fmla="*/ 3506 h 599334"/>
                <a:gd name="connsiteX3" fmla="*/ 2818 w 8330185"/>
                <a:gd name="connsiteY3" fmla="*/ 0 h 599334"/>
                <a:gd name="connsiteX4" fmla="*/ 22 w 8330185"/>
                <a:gd name="connsiteY4" fmla="*/ 599334 h 599334"/>
                <a:gd name="connsiteX5" fmla="*/ 8330185 w 8330185"/>
                <a:gd name="connsiteY5" fmla="*/ 599334 h 599334"/>
                <a:gd name="connsiteX0" fmla="*/ 8328328 w 8328328"/>
                <a:gd name="connsiteY0" fmla="*/ 599334 h 599334"/>
                <a:gd name="connsiteX1" fmla="*/ 8172608 w 8328328"/>
                <a:gd name="connsiteY1" fmla="*/ 242876 h 599334"/>
                <a:gd name="connsiteX2" fmla="*/ 8292662 w 8328328"/>
                <a:gd name="connsiteY2" fmla="*/ 3506 h 599334"/>
                <a:gd name="connsiteX3" fmla="*/ 961 w 8328328"/>
                <a:gd name="connsiteY3" fmla="*/ 0 h 599334"/>
                <a:gd name="connsiteX4" fmla="*/ 44 w 8328328"/>
                <a:gd name="connsiteY4" fmla="*/ 599334 h 599334"/>
                <a:gd name="connsiteX5" fmla="*/ 8328328 w 8328328"/>
                <a:gd name="connsiteY5" fmla="*/ 599334 h 599334"/>
                <a:gd name="connsiteX0" fmla="*/ 8327367 w 8327367"/>
                <a:gd name="connsiteY0" fmla="*/ 599334 h 599334"/>
                <a:gd name="connsiteX1" fmla="*/ 8171647 w 8327367"/>
                <a:gd name="connsiteY1" fmla="*/ 242876 h 599334"/>
                <a:gd name="connsiteX2" fmla="*/ 8291701 w 8327367"/>
                <a:gd name="connsiteY2" fmla="*/ 3506 h 599334"/>
                <a:gd name="connsiteX3" fmla="*/ 0 w 8327367"/>
                <a:gd name="connsiteY3" fmla="*/ 0 h 599334"/>
                <a:gd name="connsiteX4" fmla="*/ 962 w 8327367"/>
                <a:gd name="connsiteY4" fmla="*/ 599334 h 599334"/>
                <a:gd name="connsiteX5" fmla="*/ 8327367 w 8327367"/>
                <a:gd name="connsiteY5" fmla="*/ 599334 h 599334"/>
                <a:gd name="connsiteX0" fmla="*/ 8328327 w 8328327"/>
                <a:gd name="connsiteY0" fmla="*/ 599334 h 599334"/>
                <a:gd name="connsiteX1" fmla="*/ 8172607 w 8328327"/>
                <a:gd name="connsiteY1" fmla="*/ 242876 h 599334"/>
                <a:gd name="connsiteX2" fmla="*/ 8292661 w 8328327"/>
                <a:gd name="connsiteY2" fmla="*/ 3506 h 599334"/>
                <a:gd name="connsiteX3" fmla="*/ 960 w 8328327"/>
                <a:gd name="connsiteY3" fmla="*/ 0 h 599334"/>
                <a:gd name="connsiteX4" fmla="*/ 43 w 8328327"/>
                <a:gd name="connsiteY4" fmla="*/ 599334 h 599334"/>
                <a:gd name="connsiteX5" fmla="*/ 8328327 w 8328327"/>
                <a:gd name="connsiteY5" fmla="*/ 599334 h 599334"/>
                <a:gd name="connsiteX0" fmla="*/ 8328285 w 8328285"/>
                <a:gd name="connsiteY0" fmla="*/ 599334 h 599334"/>
                <a:gd name="connsiteX1" fmla="*/ 8172565 w 8328285"/>
                <a:gd name="connsiteY1" fmla="*/ 242876 h 599334"/>
                <a:gd name="connsiteX2" fmla="*/ 8292619 w 8328285"/>
                <a:gd name="connsiteY2" fmla="*/ 3506 h 599334"/>
                <a:gd name="connsiteX3" fmla="*/ 341008 w 8328285"/>
                <a:gd name="connsiteY3" fmla="*/ 0 h 599334"/>
                <a:gd name="connsiteX4" fmla="*/ 1 w 8328285"/>
                <a:gd name="connsiteY4" fmla="*/ 599334 h 599334"/>
                <a:gd name="connsiteX5" fmla="*/ 8328285 w 8328285"/>
                <a:gd name="connsiteY5" fmla="*/ 599334 h 599334"/>
                <a:gd name="connsiteX0" fmla="*/ 7990094 w 7990094"/>
                <a:gd name="connsiteY0" fmla="*/ 599334 h 601239"/>
                <a:gd name="connsiteX1" fmla="*/ 7834374 w 7990094"/>
                <a:gd name="connsiteY1" fmla="*/ 242876 h 601239"/>
                <a:gd name="connsiteX2" fmla="*/ 7954428 w 7990094"/>
                <a:gd name="connsiteY2" fmla="*/ 3506 h 601239"/>
                <a:gd name="connsiteX3" fmla="*/ 2817 w 7990094"/>
                <a:gd name="connsiteY3" fmla="*/ 0 h 601239"/>
                <a:gd name="connsiteX4" fmla="*/ 22 w 7990094"/>
                <a:gd name="connsiteY4" fmla="*/ 601239 h 601239"/>
                <a:gd name="connsiteX5" fmla="*/ 7990094 w 7990094"/>
                <a:gd name="connsiteY5" fmla="*/ 599334 h 601239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7429 h 599334"/>
                <a:gd name="connsiteX5" fmla="*/ 8328284 w 8328284"/>
                <a:gd name="connsiteY5" fmla="*/ 599334 h 599334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9334 h 599334"/>
                <a:gd name="connsiteX5" fmla="*/ 8328284 w 8328284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29247" h="599334">
                  <a:moveTo>
                    <a:pt x="8329247" y="599334"/>
                  </a:moveTo>
                  <a:lnTo>
                    <a:pt x="8173527" y="242876"/>
                  </a:lnTo>
                  <a:lnTo>
                    <a:pt x="8293581" y="3506"/>
                  </a:lnTo>
                  <a:lnTo>
                    <a:pt x="0" y="0"/>
                  </a:lnTo>
                  <a:lnTo>
                    <a:pt x="963" y="599334"/>
                  </a:lnTo>
                  <a:lnTo>
                    <a:pt x="8329247" y="599334"/>
                  </a:lnTo>
                  <a:close/>
                </a:path>
              </a:pathLst>
            </a:custGeom>
            <a:solidFill>
              <a:srgbClr val="DCDC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sp>
          <p:nvSpPr>
            <p:cNvPr id="22" name="Volný tvar 21"/>
            <p:cNvSpPr/>
            <p:nvPr userDrawn="1"/>
          </p:nvSpPr>
          <p:spPr>
            <a:xfrm>
              <a:off x="1907202" y="7204157"/>
              <a:ext cx="6537502" cy="357106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2033595 w 8491108"/>
                <a:gd name="connsiteY2" fmla="*/ 594144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356458 h 356458"/>
                <a:gd name="connsiteX1" fmla="*/ 8335151 w 8490871"/>
                <a:gd name="connsiteY1" fmla="*/ 0 h 356458"/>
                <a:gd name="connsiteX2" fmla="*/ 2033358 w 8490871"/>
                <a:gd name="connsiteY2" fmla="*/ 353296 h 356458"/>
                <a:gd name="connsiteX3" fmla="*/ 0 w 8490871"/>
                <a:gd name="connsiteY3" fmla="*/ 356458 h 356458"/>
                <a:gd name="connsiteX4" fmla="*/ 8490871 w 8490871"/>
                <a:gd name="connsiteY4" fmla="*/ 356458 h 356458"/>
                <a:gd name="connsiteX0" fmla="*/ 6457513 w 6457513"/>
                <a:gd name="connsiteY0" fmla="*/ 356458 h 356458"/>
                <a:gd name="connsiteX1" fmla="*/ 6301793 w 6457513"/>
                <a:gd name="connsiteY1" fmla="*/ 0 h 356458"/>
                <a:gd name="connsiteX2" fmla="*/ 0 w 6457513"/>
                <a:gd name="connsiteY2" fmla="*/ 353296 h 356458"/>
                <a:gd name="connsiteX3" fmla="*/ 6457513 w 6457513"/>
                <a:gd name="connsiteY3" fmla="*/ 356458 h 356458"/>
                <a:gd name="connsiteX0" fmla="*/ 6448118 w 6448118"/>
                <a:gd name="connsiteY0" fmla="*/ 356458 h 357106"/>
                <a:gd name="connsiteX1" fmla="*/ 6292398 w 6448118"/>
                <a:gd name="connsiteY1" fmla="*/ 0 h 357106"/>
                <a:gd name="connsiteX2" fmla="*/ 0 w 6448118"/>
                <a:gd name="connsiteY2" fmla="*/ 357106 h 357106"/>
                <a:gd name="connsiteX3" fmla="*/ 6448118 w 6448118"/>
                <a:gd name="connsiteY3" fmla="*/ 356458 h 357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8118" h="357106">
                  <a:moveTo>
                    <a:pt x="6448118" y="356458"/>
                  </a:moveTo>
                  <a:lnTo>
                    <a:pt x="6292398" y="0"/>
                  </a:lnTo>
                  <a:lnTo>
                    <a:pt x="0" y="357106"/>
                  </a:lnTo>
                  <a:lnTo>
                    <a:pt x="6448118" y="356458"/>
                  </a:lnTo>
                  <a:close/>
                </a:path>
              </a:pathLst>
            </a:custGeom>
            <a:solidFill>
              <a:srgbClr val="B6B6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sp>
          <p:nvSpPr>
            <p:cNvPr id="23" name="Volný tvar 22"/>
            <p:cNvSpPr/>
            <p:nvPr userDrawn="1"/>
          </p:nvSpPr>
          <p:spPr>
            <a:xfrm>
              <a:off x="3635636" y="6964787"/>
              <a:ext cx="4772907" cy="239370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3747792 w 8455442"/>
                <a:gd name="connsiteY0" fmla="*/ 0 h 601133"/>
                <a:gd name="connsiteX1" fmla="*/ 8335388 w 8455442"/>
                <a:gd name="connsiteY1" fmla="*/ 244675 h 601133"/>
                <a:gd name="connsiteX2" fmla="*/ 8455442 w 8455442"/>
                <a:gd name="connsiteY2" fmla="*/ 5305 h 601133"/>
                <a:gd name="connsiteX3" fmla="*/ 0 w 8455442"/>
                <a:gd name="connsiteY3" fmla="*/ 3827 h 601133"/>
                <a:gd name="connsiteX4" fmla="*/ 237 w 8455442"/>
                <a:gd name="connsiteY4" fmla="*/ 601133 h 601133"/>
                <a:gd name="connsiteX5" fmla="*/ 3747792 w 8455442"/>
                <a:gd name="connsiteY5" fmla="*/ 0 h 601133"/>
                <a:gd name="connsiteX0" fmla="*/ 3747792 w 8455442"/>
                <a:gd name="connsiteY0" fmla="*/ 0 h 244675"/>
                <a:gd name="connsiteX1" fmla="*/ 8335388 w 8455442"/>
                <a:gd name="connsiteY1" fmla="*/ 244675 h 244675"/>
                <a:gd name="connsiteX2" fmla="*/ 8455442 w 8455442"/>
                <a:gd name="connsiteY2" fmla="*/ 5305 h 244675"/>
                <a:gd name="connsiteX3" fmla="*/ 0 w 8455442"/>
                <a:gd name="connsiteY3" fmla="*/ 3827 h 244675"/>
                <a:gd name="connsiteX4" fmla="*/ 3747792 w 8455442"/>
                <a:gd name="connsiteY4" fmla="*/ 0 h 244675"/>
                <a:gd name="connsiteX0" fmla="*/ 0 w 4707650"/>
                <a:gd name="connsiteY0" fmla="*/ 0 h 244675"/>
                <a:gd name="connsiteX1" fmla="*/ 4587596 w 4707650"/>
                <a:gd name="connsiteY1" fmla="*/ 244675 h 244675"/>
                <a:gd name="connsiteX2" fmla="*/ 4707650 w 4707650"/>
                <a:gd name="connsiteY2" fmla="*/ 5305 h 244675"/>
                <a:gd name="connsiteX3" fmla="*/ 0 w 4707650"/>
                <a:gd name="connsiteY3" fmla="*/ 0 h 244675"/>
                <a:gd name="connsiteX0" fmla="*/ 0 w 4707650"/>
                <a:gd name="connsiteY0" fmla="*/ 410 h 239370"/>
                <a:gd name="connsiteX1" fmla="*/ 4587596 w 4707650"/>
                <a:gd name="connsiteY1" fmla="*/ 239370 h 239370"/>
                <a:gd name="connsiteX2" fmla="*/ 4707650 w 4707650"/>
                <a:gd name="connsiteY2" fmla="*/ 0 h 239370"/>
                <a:gd name="connsiteX3" fmla="*/ 0 w 4707650"/>
                <a:gd name="connsiteY3" fmla="*/ 410 h 239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07650" h="239370">
                  <a:moveTo>
                    <a:pt x="0" y="410"/>
                  </a:moveTo>
                  <a:lnTo>
                    <a:pt x="4587596" y="239370"/>
                  </a:lnTo>
                  <a:lnTo>
                    <a:pt x="4707650" y="0"/>
                  </a:lnTo>
                  <a:lnTo>
                    <a:pt x="0" y="410"/>
                  </a:lnTo>
                  <a:close/>
                </a:path>
              </a:pathLst>
            </a:custGeom>
            <a:solidFill>
              <a:srgbClr val="C3C3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cxnSp>
          <p:nvCxnSpPr>
            <p:cNvPr id="24" name="Přímá spojnice 23"/>
            <p:cNvCxnSpPr/>
            <p:nvPr userDrawn="1"/>
          </p:nvCxnSpPr>
          <p:spPr>
            <a:xfrm flipH="1" flipV="1">
              <a:off x="8389400" y="6966692"/>
              <a:ext cx="2304000" cy="402"/>
            </a:xfrm>
            <a:prstGeom prst="line">
              <a:avLst/>
            </a:prstGeom>
            <a:ln w="6350">
              <a:solidFill>
                <a:srgbClr val="C3C3C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5" name="think-cell Slide" r:id="rId15" imgW="399" imgH="398" progId="TCLayout.ActiveDocument.1">
                  <p:embed/>
                </p:oleObj>
              </mc:Choice>
              <mc:Fallback>
                <p:oleObj name="think-cell Slide" r:id="rId15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342850" y="1439562"/>
            <a:ext cx="10006115" cy="51836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719894" y="7162496"/>
            <a:ext cx="6173596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4"/>
          </p:nvPr>
        </p:nvSpPr>
        <p:spPr>
          <a:xfrm>
            <a:off x="342849" y="7162496"/>
            <a:ext cx="269960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342850" y="360287"/>
            <a:ext cx="10006115" cy="43190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2457303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39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</p:sldLayoutIdLst>
  <p:hf hdr="0" dt="0"/>
  <p:txStyles>
    <p:titleStyle>
      <a:lvl1pPr algn="l" defTabSz="1043056" rtl="0" eaLnBrk="1" latinLnBrk="0" hangingPunct="1">
        <a:lnSpc>
          <a:spcPts val="3200"/>
        </a:lnSpc>
        <a:spcBef>
          <a:spcPct val="0"/>
        </a:spcBef>
        <a:buNone/>
        <a:defRPr sz="2800" b="1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</p:titleStyle>
    <p:bodyStyle>
      <a:lvl1pPr marL="18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  <a:lvl2pPr marL="36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2pPr>
      <a:lvl3pPr marL="54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3pPr>
      <a:lvl4pPr marL="72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4pPr>
      <a:lvl5pPr marL="90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7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39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7" userDrawn="1">
          <p15:clr>
            <a:srgbClr val="F26B43"/>
          </p15:clr>
        </p15:guide>
        <p15:guide id="2" pos="3255" userDrawn="1">
          <p15:clr>
            <a:srgbClr val="F26B43"/>
          </p15:clr>
        </p15:guide>
        <p15:guide id="3" pos="2393" userDrawn="1">
          <p15:clr>
            <a:srgbClr val="F26B43"/>
          </p15:clr>
        </p15:guide>
        <p15:guide id="4" pos="2166" userDrawn="1">
          <p15:clr>
            <a:srgbClr val="F26B43"/>
          </p15:clr>
        </p15:guide>
        <p15:guide id="5" pos="1304" userDrawn="1">
          <p15:clr>
            <a:srgbClr val="F26B43"/>
          </p15:clr>
        </p15:guide>
        <p15:guide id="6" pos="1077" userDrawn="1">
          <p15:clr>
            <a:srgbClr val="F26B43"/>
          </p15:clr>
        </p15:guide>
        <p15:guide id="7" pos="216" userDrawn="1">
          <p15:clr>
            <a:srgbClr val="F26B43"/>
          </p15:clr>
        </p15:guide>
        <p15:guide id="8" pos="3480" userDrawn="1">
          <p15:clr>
            <a:srgbClr val="F26B43"/>
          </p15:clr>
        </p15:guide>
        <p15:guide id="9" pos="4342" userDrawn="1">
          <p15:clr>
            <a:srgbClr val="F26B43"/>
          </p15:clr>
        </p15:guide>
        <p15:guide id="10" pos="4569" userDrawn="1">
          <p15:clr>
            <a:srgbClr val="F26B43"/>
          </p15:clr>
        </p15:guide>
        <p15:guide id="11" pos="5431" userDrawn="1">
          <p15:clr>
            <a:srgbClr val="F26B43"/>
          </p15:clr>
        </p15:guide>
        <p15:guide id="12" pos="5658" userDrawn="1">
          <p15:clr>
            <a:srgbClr val="F26B43"/>
          </p15:clr>
        </p15:guide>
        <p15:guide id="13" pos="6519" userDrawn="1">
          <p15:clr>
            <a:srgbClr val="F26B43"/>
          </p15:clr>
        </p15:guide>
        <p15:guide id="14" orient="horz" pos="907" userDrawn="1">
          <p15:clr>
            <a:srgbClr val="F26B43"/>
          </p15:clr>
        </p15:guide>
        <p15:guide id="15" orient="horz" pos="4172" userDrawn="1">
          <p15:clr>
            <a:srgbClr val="F26B43"/>
          </p15:clr>
        </p15:guide>
        <p15:guide id="16" orient="horz" pos="2471" userDrawn="1">
          <p15:clr>
            <a:srgbClr val="F26B43"/>
          </p15:clr>
        </p15:guide>
        <p15:guide id="17" orient="horz" pos="2607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Skupina 12"/>
          <p:cNvGrpSpPr/>
          <p:nvPr userDrawn="1"/>
        </p:nvGrpSpPr>
        <p:grpSpPr>
          <a:xfrm>
            <a:off x="0" y="6961281"/>
            <a:ext cx="10693400" cy="599982"/>
            <a:chOff x="0" y="6961281"/>
            <a:chExt cx="10693400" cy="599982"/>
          </a:xfrm>
        </p:grpSpPr>
        <p:pic>
          <p:nvPicPr>
            <p:cNvPr id="20" name="Obrázek 19"/>
            <p:cNvPicPr>
              <a:picLocks noChangeAspect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23721" y="7084105"/>
              <a:ext cx="1726779" cy="360000"/>
            </a:xfrm>
            <a:prstGeom prst="rect">
              <a:avLst/>
            </a:prstGeom>
          </p:spPr>
        </p:pic>
        <p:sp>
          <p:nvSpPr>
            <p:cNvPr id="21" name="Volný tvar 20"/>
            <p:cNvSpPr/>
            <p:nvPr userDrawn="1"/>
          </p:nvSpPr>
          <p:spPr>
            <a:xfrm>
              <a:off x="0" y="6961281"/>
              <a:ext cx="8444706" cy="599334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599334 h 599334"/>
                <a:gd name="connsiteX1" fmla="*/ 8335151 w 8490871"/>
                <a:gd name="connsiteY1" fmla="*/ 242876 h 599334"/>
                <a:gd name="connsiteX2" fmla="*/ 8455205 w 8490871"/>
                <a:gd name="connsiteY2" fmla="*/ 3506 h 599334"/>
                <a:gd name="connsiteX3" fmla="*/ 159745 w 8490871"/>
                <a:gd name="connsiteY3" fmla="*/ 0 h 599334"/>
                <a:gd name="connsiteX4" fmla="*/ 0 w 8490871"/>
                <a:gd name="connsiteY4" fmla="*/ 599334 h 599334"/>
                <a:gd name="connsiteX5" fmla="*/ 8490871 w 8490871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12236 w 8331126"/>
                <a:gd name="connsiteY4" fmla="*/ 599334 h 599334"/>
                <a:gd name="connsiteX5" fmla="*/ 8331126 w 8331126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2842 w 8331126"/>
                <a:gd name="connsiteY4" fmla="*/ 599334 h 599334"/>
                <a:gd name="connsiteX5" fmla="*/ 8331126 w 8331126"/>
                <a:gd name="connsiteY5" fmla="*/ 599334 h 599334"/>
                <a:gd name="connsiteX0" fmla="*/ 8328482 w 8328482"/>
                <a:gd name="connsiteY0" fmla="*/ 599334 h 599334"/>
                <a:gd name="connsiteX1" fmla="*/ 8172762 w 8328482"/>
                <a:gd name="connsiteY1" fmla="*/ 242876 h 599334"/>
                <a:gd name="connsiteX2" fmla="*/ 8292816 w 8328482"/>
                <a:gd name="connsiteY2" fmla="*/ 3506 h 599334"/>
                <a:gd name="connsiteX3" fmla="*/ 1114 w 8328482"/>
                <a:gd name="connsiteY3" fmla="*/ 0 h 599334"/>
                <a:gd name="connsiteX4" fmla="*/ 198 w 8328482"/>
                <a:gd name="connsiteY4" fmla="*/ 599334 h 599334"/>
                <a:gd name="connsiteX5" fmla="*/ 8328482 w 8328482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  <a:gd name="connsiteX0" fmla="*/ 8328325 w 8328325"/>
                <a:gd name="connsiteY0" fmla="*/ 599334 h 599334"/>
                <a:gd name="connsiteX1" fmla="*/ 8172605 w 8328325"/>
                <a:gd name="connsiteY1" fmla="*/ 242876 h 599334"/>
                <a:gd name="connsiteX2" fmla="*/ 8292659 w 8328325"/>
                <a:gd name="connsiteY2" fmla="*/ 3506 h 599334"/>
                <a:gd name="connsiteX3" fmla="*/ 14110 w 8328325"/>
                <a:gd name="connsiteY3" fmla="*/ 0 h 599334"/>
                <a:gd name="connsiteX4" fmla="*/ 41 w 8328325"/>
                <a:gd name="connsiteY4" fmla="*/ 599334 h 599334"/>
                <a:gd name="connsiteX5" fmla="*/ 8328325 w 8328325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1630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30206 w 8330206"/>
                <a:gd name="connsiteY0" fmla="*/ 599334 h 599334"/>
                <a:gd name="connsiteX1" fmla="*/ 8174486 w 8330206"/>
                <a:gd name="connsiteY1" fmla="*/ 242876 h 599334"/>
                <a:gd name="connsiteX2" fmla="*/ 8294540 w 8330206"/>
                <a:gd name="connsiteY2" fmla="*/ 3506 h 599334"/>
                <a:gd name="connsiteX3" fmla="*/ 960 w 8330206"/>
                <a:gd name="connsiteY3" fmla="*/ 0 h 599334"/>
                <a:gd name="connsiteX4" fmla="*/ 43 w 8330206"/>
                <a:gd name="connsiteY4" fmla="*/ 599334 h 599334"/>
                <a:gd name="connsiteX5" fmla="*/ 8330206 w 8330206"/>
                <a:gd name="connsiteY5" fmla="*/ 599334 h 599334"/>
                <a:gd name="connsiteX0" fmla="*/ 8331125 w 8331125"/>
                <a:gd name="connsiteY0" fmla="*/ 599334 h 599334"/>
                <a:gd name="connsiteX1" fmla="*/ 8175405 w 8331125"/>
                <a:gd name="connsiteY1" fmla="*/ 242876 h 599334"/>
                <a:gd name="connsiteX2" fmla="*/ 8295459 w 8331125"/>
                <a:gd name="connsiteY2" fmla="*/ 3506 h 599334"/>
                <a:gd name="connsiteX3" fmla="*/ 0 w 8331125"/>
                <a:gd name="connsiteY3" fmla="*/ 0 h 599334"/>
                <a:gd name="connsiteX4" fmla="*/ 962 w 8331125"/>
                <a:gd name="connsiteY4" fmla="*/ 599334 h 599334"/>
                <a:gd name="connsiteX5" fmla="*/ 8331125 w 8331125"/>
                <a:gd name="connsiteY5" fmla="*/ 599334 h 599334"/>
                <a:gd name="connsiteX0" fmla="*/ 8330185 w 8330185"/>
                <a:gd name="connsiteY0" fmla="*/ 599334 h 599334"/>
                <a:gd name="connsiteX1" fmla="*/ 8174465 w 8330185"/>
                <a:gd name="connsiteY1" fmla="*/ 242876 h 599334"/>
                <a:gd name="connsiteX2" fmla="*/ 8294519 w 8330185"/>
                <a:gd name="connsiteY2" fmla="*/ 3506 h 599334"/>
                <a:gd name="connsiteX3" fmla="*/ 2818 w 8330185"/>
                <a:gd name="connsiteY3" fmla="*/ 0 h 599334"/>
                <a:gd name="connsiteX4" fmla="*/ 22 w 8330185"/>
                <a:gd name="connsiteY4" fmla="*/ 599334 h 599334"/>
                <a:gd name="connsiteX5" fmla="*/ 8330185 w 8330185"/>
                <a:gd name="connsiteY5" fmla="*/ 599334 h 599334"/>
                <a:gd name="connsiteX0" fmla="*/ 8328328 w 8328328"/>
                <a:gd name="connsiteY0" fmla="*/ 599334 h 599334"/>
                <a:gd name="connsiteX1" fmla="*/ 8172608 w 8328328"/>
                <a:gd name="connsiteY1" fmla="*/ 242876 h 599334"/>
                <a:gd name="connsiteX2" fmla="*/ 8292662 w 8328328"/>
                <a:gd name="connsiteY2" fmla="*/ 3506 h 599334"/>
                <a:gd name="connsiteX3" fmla="*/ 961 w 8328328"/>
                <a:gd name="connsiteY3" fmla="*/ 0 h 599334"/>
                <a:gd name="connsiteX4" fmla="*/ 44 w 8328328"/>
                <a:gd name="connsiteY4" fmla="*/ 599334 h 599334"/>
                <a:gd name="connsiteX5" fmla="*/ 8328328 w 8328328"/>
                <a:gd name="connsiteY5" fmla="*/ 599334 h 599334"/>
                <a:gd name="connsiteX0" fmla="*/ 8327367 w 8327367"/>
                <a:gd name="connsiteY0" fmla="*/ 599334 h 599334"/>
                <a:gd name="connsiteX1" fmla="*/ 8171647 w 8327367"/>
                <a:gd name="connsiteY1" fmla="*/ 242876 h 599334"/>
                <a:gd name="connsiteX2" fmla="*/ 8291701 w 8327367"/>
                <a:gd name="connsiteY2" fmla="*/ 3506 h 599334"/>
                <a:gd name="connsiteX3" fmla="*/ 0 w 8327367"/>
                <a:gd name="connsiteY3" fmla="*/ 0 h 599334"/>
                <a:gd name="connsiteX4" fmla="*/ 962 w 8327367"/>
                <a:gd name="connsiteY4" fmla="*/ 599334 h 599334"/>
                <a:gd name="connsiteX5" fmla="*/ 8327367 w 8327367"/>
                <a:gd name="connsiteY5" fmla="*/ 599334 h 599334"/>
                <a:gd name="connsiteX0" fmla="*/ 8328327 w 8328327"/>
                <a:gd name="connsiteY0" fmla="*/ 599334 h 599334"/>
                <a:gd name="connsiteX1" fmla="*/ 8172607 w 8328327"/>
                <a:gd name="connsiteY1" fmla="*/ 242876 h 599334"/>
                <a:gd name="connsiteX2" fmla="*/ 8292661 w 8328327"/>
                <a:gd name="connsiteY2" fmla="*/ 3506 h 599334"/>
                <a:gd name="connsiteX3" fmla="*/ 960 w 8328327"/>
                <a:gd name="connsiteY3" fmla="*/ 0 h 599334"/>
                <a:gd name="connsiteX4" fmla="*/ 43 w 8328327"/>
                <a:gd name="connsiteY4" fmla="*/ 599334 h 599334"/>
                <a:gd name="connsiteX5" fmla="*/ 8328327 w 8328327"/>
                <a:gd name="connsiteY5" fmla="*/ 599334 h 599334"/>
                <a:gd name="connsiteX0" fmla="*/ 8328285 w 8328285"/>
                <a:gd name="connsiteY0" fmla="*/ 599334 h 599334"/>
                <a:gd name="connsiteX1" fmla="*/ 8172565 w 8328285"/>
                <a:gd name="connsiteY1" fmla="*/ 242876 h 599334"/>
                <a:gd name="connsiteX2" fmla="*/ 8292619 w 8328285"/>
                <a:gd name="connsiteY2" fmla="*/ 3506 h 599334"/>
                <a:gd name="connsiteX3" fmla="*/ 341008 w 8328285"/>
                <a:gd name="connsiteY3" fmla="*/ 0 h 599334"/>
                <a:gd name="connsiteX4" fmla="*/ 1 w 8328285"/>
                <a:gd name="connsiteY4" fmla="*/ 599334 h 599334"/>
                <a:gd name="connsiteX5" fmla="*/ 8328285 w 8328285"/>
                <a:gd name="connsiteY5" fmla="*/ 599334 h 599334"/>
                <a:gd name="connsiteX0" fmla="*/ 7990094 w 7990094"/>
                <a:gd name="connsiteY0" fmla="*/ 599334 h 601239"/>
                <a:gd name="connsiteX1" fmla="*/ 7834374 w 7990094"/>
                <a:gd name="connsiteY1" fmla="*/ 242876 h 601239"/>
                <a:gd name="connsiteX2" fmla="*/ 7954428 w 7990094"/>
                <a:gd name="connsiteY2" fmla="*/ 3506 h 601239"/>
                <a:gd name="connsiteX3" fmla="*/ 2817 w 7990094"/>
                <a:gd name="connsiteY3" fmla="*/ 0 h 601239"/>
                <a:gd name="connsiteX4" fmla="*/ 22 w 7990094"/>
                <a:gd name="connsiteY4" fmla="*/ 601239 h 601239"/>
                <a:gd name="connsiteX5" fmla="*/ 7990094 w 7990094"/>
                <a:gd name="connsiteY5" fmla="*/ 599334 h 601239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7429 h 599334"/>
                <a:gd name="connsiteX5" fmla="*/ 8328284 w 8328284"/>
                <a:gd name="connsiteY5" fmla="*/ 599334 h 599334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9334 h 599334"/>
                <a:gd name="connsiteX5" fmla="*/ 8328284 w 8328284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29247" h="599334">
                  <a:moveTo>
                    <a:pt x="8329247" y="599334"/>
                  </a:moveTo>
                  <a:lnTo>
                    <a:pt x="8173527" y="242876"/>
                  </a:lnTo>
                  <a:lnTo>
                    <a:pt x="8293581" y="3506"/>
                  </a:lnTo>
                  <a:lnTo>
                    <a:pt x="0" y="0"/>
                  </a:lnTo>
                  <a:lnTo>
                    <a:pt x="963" y="599334"/>
                  </a:lnTo>
                  <a:lnTo>
                    <a:pt x="8329247" y="599334"/>
                  </a:lnTo>
                  <a:close/>
                </a:path>
              </a:pathLst>
            </a:custGeom>
            <a:solidFill>
              <a:srgbClr val="DCDC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sp>
          <p:nvSpPr>
            <p:cNvPr id="22" name="Volný tvar 21"/>
            <p:cNvSpPr/>
            <p:nvPr userDrawn="1"/>
          </p:nvSpPr>
          <p:spPr>
            <a:xfrm>
              <a:off x="1907202" y="7204157"/>
              <a:ext cx="6537502" cy="357106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2033595 w 8491108"/>
                <a:gd name="connsiteY2" fmla="*/ 594144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356458 h 356458"/>
                <a:gd name="connsiteX1" fmla="*/ 8335151 w 8490871"/>
                <a:gd name="connsiteY1" fmla="*/ 0 h 356458"/>
                <a:gd name="connsiteX2" fmla="*/ 2033358 w 8490871"/>
                <a:gd name="connsiteY2" fmla="*/ 353296 h 356458"/>
                <a:gd name="connsiteX3" fmla="*/ 0 w 8490871"/>
                <a:gd name="connsiteY3" fmla="*/ 356458 h 356458"/>
                <a:gd name="connsiteX4" fmla="*/ 8490871 w 8490871"/>
                <a:gd name="connsiteY4" fmla="*/ 356458 h 356458"/>
                <a:gd name="connsiteX0" fmla="*/ 6457513 w 6457513"/>
                <a:gd name="connsiteY0" fmla="*/ 356458 h 356458"/>
                <a:gd name="connsiteX1" fmla="*/ 6301793 w 6457513"/>
                <a:gd name="connsiteY1" fmla="*/ 0 h 356458"/>
                <a:gd name="connsiteX2" fmla="*/ 0 w 6457513"/>
                <a:gd name="connsiteY2" fmla="*/ 353296 h 356458"/>
                <a:gd name="connsiteX3" fmla="*/ 6457513 w 6457513"/>
                <a:gd name="connsiteY3" fmla="*/ 356458 h 356458"/>
                <a:gd name="connsiteX0" fmla="*/ 6448118 w 6448118"/>
                <a:gd name="connsiteY0" fmla="*/ 356458 h 357106"/>
                <a:gd name="connsiteX1" fmla="*/ 6292398 w 6448118"/>
                <a:gd name="connsiteY1" fmla="*/ 0 h 357106"/>
                <a:gd name="connsiteX2" fmla="*/ 0 w 6448118"/>
                <a:gd name="connsiteY2" fmla="*/ 357106 h 357106"/>
                <a:gd name="connsiteX3" fmla="*/ 6448118 w 6448118"/>
                <a:gd name="connsiteY3" fmla="*/ 356458 h 357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8118" h="357106">
                  <a:moveTo>
                    <a:pt x="6448118" y="356458"/>
                  </a:moveTo>
                  <a:lnTo>
                    <a:pt x="6292398" y="0"/>
                  </a:lnTo>
                  <a:lnTo>
                    <a:pt x="0" y="357106"/>
                  </a:lnTo>
                  <a:lnTo>
                    <a:pt x="6448118" y="356458"/>
                  </a:lnTo>
                  <a:close/>
                </a:path>
              </a:pathLst>
            </a:custGeom>
            <a:solidFill>
              <a:srgbClr val="B6B6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sp>
          <p:nvSpPr>
            <p:cNvPr id="23" name="Volný tvar 22"/>
            <p:cNvSpPr/>
            <p:nvPr userDrawn="1"/>
          </p:nvSpPr>
          <p:spPr>
            <a:xfrm>
              <a:off x="3635636" y="6964787"/>
              <a:ext cx="4772907" cy="239370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3747792 w 8455442"/>
                <a:gd name="connsiteY0" fmla="*/ 0 h 601133"/>
                <a:gd name="connsiteX1" fmla="*/ 8335388 w 8455442"/>
                <a:gd name="connsiteY1" fmla="*/ 244675 h 601133"/>
                <a:gd name="connsiteX2" fmla="*/ 8455442 w 8455442"/>
                <a:gd name="connsiteY2" fmla="*/ 5305 h 601133"/>
                <a:gd name="connsiteX3" fmla="*/ 0 w 8455442"/>
                <a:gd name="connsiteY3" fmla="*/ 3827 h 601133"/>
                <a:gd name="connsiteX4" fmla="*/ 237 w 8455442"/>
                <a:gd name="connsiteY4" fmla="*/ 601133 h 601133"/>
                <a:gd name="connsiteX5" fmla="*/ 3747792 w 8455442"/>
                <a:gd name="connsiteY5" fmla="*/ 0 h 601133"/>
                <a:gd name="connsiteX0" fmla="*/ 3747792 w 8455442"/>
                <a:gd name="connsiteY0" fmla="*/ 0 h 244675"/>
                <a:gd name="connsiteX1" fmla="*/ 8335388 w 8455442"/>
                <a:gd name="connsiteY1" fmla="*/ 244675 h 244675"/>
                <a:gd name="connsiteX2" fmla="*/ 8455442 w 8455442"/>
                <a:gd name="connsiteY2" fmla="*/ 5305 h 244675"/>
                <a:gd name="connsiteX3" fmla="*/ 0 w 8455442"/>
                <a:gd name="connsiteY3" fmla="*/ 3827 h 244675"/>
                <a:gd name="connsiteX4" fmla="*/ 3747792 w 8455442"/>
                <a:gd name="connsiteY4" fmla="*/ 0 h 244675"/>
                <a:gd name="connsiteX0" fmla="*/ 0 w 4707650"/>
                <a:gd name="connsiteY0" fmla="*/ 0 h 244675"/>
                <a:gd name="connsiteX1" fmla="*/ 4587596 w 4707650"/>
                <a:gd name="connsiteY1" fmla="*/ 244675 h 244675"/>
                <a:gd name="connsiteX2" fmla="*/ 4707650 w 4707650"/>
                <a:gd name="connsiteY2" fmla="*/ 5305 h 244675"/>
                <a:gd name="connsiteX3" fmla="*/ 0 w 4707650"/>
                <a:gd name="connsiteY3" fmla="*/ 0 h 244675"/>
                <a:gd name="connsiteX0" fmla="*/ 0 w 4707650"/>
                <a:gd name="connsiteY0" fmla="*/ 410 h 239370"/>
                <a:gd name="connsiteX1" fmla="*/ 4587596 w 4707650"/>
                <a:gd name="connsiteY1" fmla="*/ 239370 h 239370"/>
                <a:gd name="connsiteX2" fmla="*/ 4707650 w 4707650"/>
                <a:gd name="connsiteY2" fmla="*/ 0 h 239370"/>
                <a:gd name="connsiteX3" fmla="*/ 0 w 4707650"/>
                <a:gd name="connsiteY3" fmla="*/ 410 h 239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07650" h="239370">
                  <a:moveTo>
                    <a:pt x="0" y="410"/>
                  </a:moveTo>
                  <a:lnTo>
                    <a:pt x="4587596" y="239370"/>
                  </a:lnTo>
                  <a:lnTo>
                    <a:pt x="4707650" y="0"/>
                  </a:lnTo>
                  <a:lnTo>
                    <a:pt x="0" y="410"/>
                  </a:lnTo>
                  <a:close/>
                </a:path>
              </a:pathLst>
            </a:custGeom>
            <a:solidFill>
              <a:srgbClr val="C3C3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cxnSp>
          <p:nvCxnSpPr>
            <p:cNvPr id="24" name="Přímá spojnice 23"/>
            <p:cNvCxnSpPr/>
            <p:nvPr userDrawn="1"/>
          </p:nvCxnSpPr>
          <p:spPr>
            <a:xfrm flipH="1" flipV="1">
              <a:off x="8389400" y="6966692"/>
              <a:ext cx="2304000" cy="402"/>
            </a:xfrm>
            <a:prstGeom prst="line">
              <a:avLst/>
            </a:prstGeom>
            <a:ln w="6350">
              <a:solidFill>
                <a:srgbClr val="C3C3C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3" name="think-cell Slide" r:id="rId15" imgW="399" imgH="398" progId="TCLayout.ActiveDocument.1">
                  <p:embed/>
                </p:oleObj>
              </mc:Choice>
              <mc:Fallback>
                <p:oleObj name="think-cell Slide" r:id="rId15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342850" y="1439562"/>
            <a:ext cx="10006115" cy="51836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719894" y="7162496"/>
            <a:ext cx="6173596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4"/>
          </p:nvPr>
        </p:nvSpPr>
        <p:spPr>
          <a:xfrm>
            <a:off x="342849" y="7162496"/>
            <a:ext cx="269960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342850" y="360287"/>
            <a:ext cx="10006115" cy="43190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10963283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40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</p:sldLayoutIdLst>
  <p:hf hdr="0" dt="0"/>
  <p:txStyles>
    <p:titleStyle>
      <a:lvl1pPr algn="l" defTabSz="1043056" rtl="0" eaLnBrk="1" latinLnBrk="0" hangingPunct="1">
        <a:lnSpc>
          <a:spcPts val="3200"/>
        </a:lnSpc>
        <a:spcBef>
          <a:spcPct val="0"/>
        </a:spcBef>
        <a:buNone/>
        <a:defRPr sz="2800" b="1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</p:titleStyle>
    <p:bodyStyle>
      <a:lvl1pPr marL="18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  <a:lvl2pPr marL="36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2pPr>
      <a:lvl3pPr marL="54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3pPr>
      <a:lvl4pPr marL="72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4pPr>
      <a:lvl5pPr marL="90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7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39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7" userDrawn="1">
          <p15:clr>
            <a:srgbClr val="F26B43"/>
          </p15:clr>
        </p15:guide>
        <p15:guide id="2" pos="3255" userDrawn="1">
          <p15:clr>
            <a:srgbClr val="F26B43"/>
          </p15:clr>
        </p15:guide>
        <p15:guide id="3" pos="2393" userDrawn="1">
          <p15:clr>
            <a:srgbClr val="F26B43"/>
          </p15:clr>
        </p15:guide>
        <p15:guide id="4" pos="2166" userDrawn="1">
          <p15:clr>
            <a:srgbClr val="F26B43"/>
          </p15:clr>
        </p15:guide>
        <p15:guide id="5" pos="1304" userDrawn="1">
          <p15:clr>
            <a:srgbClr val="F26B43"/>
          </p15:clr>
        </p15:guide>
        <p15:guide id="6" pos="1077" userDrawn="1">
          <p15:clr>
            <a:srgbClr val="F26B43"/>
          </p15:clr>
        </p15:guide>
        <p15:guide id="7" pos="216" userDrawn="1">
          <p15:clr>
            <a:srgbClr val="F26B43"/>
          </p15:clr>
        </p15:guide>
        <p15:guide id="8" pos="3480" userDrawn="1">
          <p15:clr>
            <a:srgbClr val="F26B43"/>
          </p15:clr>
        </p15:guide>
        <p15:guide id="9" pos="4342" userDrawn="1">
          <p15:clr>
            <a:srgbClr val="F26B43"/>
          </p15:clr>
        </p15:guide>
        <p15:guide id="10" pos="4569" userDrawn="1">
          <p15:clr>
            <a:srgbClr val="F26B43"/>
          </p15:clr>
        </p15:guide>
        <p15:guide id="11" pos="5431" userDrawn="1">
          <p15:clr>
            <a:srgbClr val="F26B43"/>
          </p15:clr>
        </p15:guide>
        <p15:guide id="12" pos="5658" userDrawn="1">
          <p15:clr>
            <a:srgbClr val="F26B43"/>
          </p15:clr>
        </p15:guide>
        <p15:guide id="13" pos="6519" userDrawn="1">
          <p15:clr>
            <a:srgbClr val="F26B43"/>
          </p15:clr>
        </p15:guide>
        <p15:guide id="14" orient="horz" pos="907" userDrawn="1">
          <p15:clr>
            <a:srgbClr val="F26B43"/>
          </p15:clr>
        </p15:guide>
        <p15:guide id="15" orient="horz" pos="4172" userDrawn="1">
          <p15:clr>
            <a:srgbClr val="F26B43"/>
          </p15:clr>
        </p15:guide>
        <p15:guide id="16" orient="horz" pos="2471" userDrawn="1">
          <p15:clr>
            <a:srgbClr val="F26B43"/>
          </p15:clr>
        </p15:guide>
        <p15:guide id="17" orient="horz" pos="260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9.jpg"/><Relationship Id="rId4" Type="http://schemas.openxmlformats.org/officeDocument/2006/relationships/image" Target="../media/image8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41948" y="1062983"/>
            <a:ext cx="8278865" cy="540000"/>
          </a:xfrm>
        </p:spPr>
        <p:txBody>
          <a:bodyPr/>
          <a:lstStyle/>
          <a:p>
            <a:r>
              <a:rPr lang="cs-CZ" dirty="0"/>
              <a:t>ŠKODA – </a:t>
            </a:r>
            <a:r>
              <a:rPr lang="cs-CZ" dirty="0" err="1"/>
              <a:t>vYsádzanie</a:t>
            </a:r>
            <a:r>
              <a:rPr lang="cs-CZ" dirty="0"/>
              <a:t> </a:t>
            </a:r>
            <a:r>
              <a:rPr lang="cs-CZ" dirty="0" err="1"/>
              <a:t>stromčekov</a:t>
            </a:r>
            <a:endParaRPr lang="cs-CZ" dirty="0"/>
          </a:p>
        </p:txBody>
      </p:sp>
      <p:sp>
        <p:nvSpPr>
          <p:cNvPr id="8" name="Zástupný symbol pro číslo snímku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956721-BB38-4972-8ACD-5A2C9377E3B4}" type="slidenum">
              <a:rPr lang="cs-CZ" noProof="0" smtClean="0"/>
              <a:pPr/>
              <a:t>1</a:t>
            </a:fld>
            <a:endParaRPr lang="cs-CZ" noProof="0" dirty="0"/>
          </a:p>
        </p:txBody>
      </p:sp>
      <p:sp>
        <p:nvSpPr>
          <p:cNvPr id="9" name="Zástupný symbol pro zápatí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noProof="0" dirty="0"/>
              <a:t>Název prezentace, oddělení, jméno, datum</a:t>
            </a:r>
          </a:p>
        </p:txBody>
      </p:sp>
      <p:pic>
        <p:nvPicPr>
          <p:cNvPr id="4" name="Obrázok 3">
            <a:extLst>
              <a:ext uri="{FF2B5EF4-FFF2-40B4-BE49-F238E27FC236}">
                <a16:creationId xmlns:a16="http://schemas.microsoft.com/office/drawing/2014/main" id="{3E69CDE0-91E9-432C-9641-D5F00190A4F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894" y="1873313"/>
            <a:ext cx="7760266" cy="5573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58985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956721-BB38-4972-8ACD-5A2C9377E3B4}" type="slidenum">
              <a:rPr lang="cs-CZ" smtClean="0"/>
              <a:pPr/>
              <a:t>2</a:t>
            </a:fld>
            <a:endParaRPr lang="cs-CZ" dirty="0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dirty="0">
                <a:solidFill>
                  <a:schemeClr val="accent6"/>
                </a:solidFill>
              </a:rPr>
              <a:t>Výstupy</a:t>
            </a:r>
            <a:endParaRPr lang="cs-CZ" dirty="0"/>
          </a:p>
        </p:txBody>
      </p:sp>
      <p:pic>
        <p:nvPicPr>
          <p:cNvPr id="6" name="Obrázok 5">
            <a:extLst>
              <a:ext uri="{FF2B5EF4-FFF2-40B4-BE49-F238E27FC236}">
                <a16:creationId xmlns:a16="http://schemas.microsoft.com/office/drawing/2014/main" id="{06FA0BC3-B5A9-430D-B25D-E29908D09C7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4924" y="3896142"/>
            <a:ext cx="4352275" cy="2815056"/>
          </a:xfrm>
          <a:prstGeom prst="rect">
            <a:avLst/>
          </a:prstGeom>
        </p:spPr>
      </p:pic>
      <p:pic>
        <p:nvPicPr>
          <p:cNvPr id="9" name="Obrázok 8">
            <a:extLst>
              <a:ext uri="{FF2B5EF4-FFF2-40B4-BE49-F238E27FC236}">
                <a16:creationId xmlns:a16="http://schemas.microsoft.com/office/drawing/2014/main" id="{F99CBEAF-DD8D-4728-9B16-CE93DC4DE2F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437" y="855039"/>
            <a:ext cx="4565180" cy="2819915"/>
          </a:xfrm>
          <a:prstGeom prst="rect">
            <a:avLst/>
          </a:prstGeom>
        </p:spPr>
      </p:pic>
      <p:pic>
        <p:nvPicPr>
          <p:cNvPr id="12" name="Obrázok 11">
            <a:extLst>
              <a:ext uri="{FF2B5EF4-FFF2-40B4-BE49-F238E27FC236}">
                <a16:creationId xmlns:a16="http://schemas.microsoft.com/office/drawing/2014/main" id="{C155755E-7368-42C1-9D95-FA723A64FFF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6201" y="848477"/>
            <a:ext cx="4285845" cy="2826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41793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ŠKODA A4 Landscape CI">
  <a:themeElements>
    <a:clrScheme name="ŠKODA CI">
      <a:dk1>
        <a:sysClr val="windowText" lastClr="000000"/>
      </a:dk1>
      <a:lt1>
        <a:sysClr val="window" lastClr="FFFFFF"/>
      </a:lt1>
      <a:dk2>
        <a:srgbClr val="D22630"/>
      </a:dk2>
      <a:lt2>
        <a:srgbClr val="FFD200"/>
      </a:lt2>
      <a:accent1>
        <a:srgbClr val="DCDCDC"/>
      </a:accent1>
      <a:accent2>
        <a:srgbClr val="BEBEBE"/>
      </a:accent2>
      <a:accent3>
        <a:srgbClr val="6E6E6E"/>
      </a:accent3>
      <a:accent4>
        <a:srgbClr val="DBEED5"/>
      </a:accent4>
      <a:accent5>
        <a:srgbClr val="81C26D"/>
      </a:accent5>
      <a:accent6>
        <a:srgbClr val="4BA82E"/>
      </a:accent6>
      <a:hlink>
        <a:srgbClr val="000000"/>
      </a:hlink>
      <a:folHlink>
        <a:srgbClr val="000000"/>
      </a:folHlink>
    </a:clrScheme>
    <a:fontScheme name="SKODA Next">
      <a:majorFont>
        <a:latin typeface="SKODA Next"/>
        <a:ea typeface=""/>
        <a:cs typeface=""/>
      </a:majorFont>
      <a:minorFont>
        <a:latin typeface="SKODA Next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CI">
        <a:dk1>
          <a:sysClr val="windowText" lastClr="000000"/>
        </a:dk1>
        <a:lt1>
          <a:sysClr val="window" lastClr="FFFFFF"/>
        </a:lt1>
        <a:dk2>
          <a:srgbClr val="D22630"/>
        </a:dk2>
        <a:lt2>
          <a:srgbClr val="FFD200"/>
        </a:lt2>
        <a:accent1>
          <a:srgbClr val="DCDCDC"/>
        </a:accent1>
        <a:accent2>
          <a:srgbClr val="BEBEBE"/>
        </a:accent2>
        <a:accent3>
          <a:srgbClr val="6E6E6E"/>
        </a:accent3>
        <a:accent4>
          <a:srgbClr val="DBEED5"/>
        </a:accent4>
        <a:accent5>
          <a:srgbClr val="81C26D"/>
        </a:accent5>
        <a:accent6>
          <a:srgbClr val="4BA82E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ŠKODA Green">
      <a:srgbClr val="4BA82E"/>
    </a:custClr>
    <a:custClr name="ŠKODA Chrome Grey">
      <a:srgbClr val="A7AEB4"/>
    </a:custClr>
    <a:custClr name="Warm Grey 1">
      <a:srgbClr val="E0DED8"/>
    </a:custClr>
    <a:custClr name="Warm Grey 2">
      <a:srgbClr val="D5D2CA"/>
    </a:custClr>
    <a:custClr name="Warm Grey 3">
      <a:srgbClr val="C7C2BA"/>
    </a:custClr>
    <a:custClr name="Cool Grey 1">
      <a:srgbClr val="E0E1DD"/>
    </a:custClr>
    <a:custClr name="Cool Grey 2">
      <a:srgbClr val="D5D6D2"/>
    </a:custClr>
    <a:custClr name="Cool Grey 3">
      <a:srgbClr val="C9CAC8"/>
    </a:custClr>
  </a:custClrLst>
  <a:extLst>
    <a:ext uri="{05A4C25C-085E-4340-85A3-A5531E510DB2}">
      <thm15:themeFamily xmlns:thm15="http://schemas.microsoft.com/office/thememl/2012/main" name="SKODA_Sablona_Na_sirku-SKODA_Next_B.potx" id="{1546329A-B451-405E-80E8-ED351D8D999A}" vid="{3E881CF6-D04C-455F-8B0E-E72509443B69}"/>
    </a:ext>
  </a:extLst>
</a:theme>
</file>

<file path=ppt/theme/theme2.xml><?xml version="1.0" encoding="utf-8"?>
<a:theme xmlns:a="http://schemas.openxmlformats.org/drawingml/2006/main" name="ŠKODA A4 Landscape BLUE">
  <a:themeElements>
    <a:clrScheme name="ŠKODA BLUE">
      <a:dk1>
        <a:sysClr val="windowText" lastClr="000000"/>
      </a:dk1>
      <a:lt1>
        <a:sysClr val="window" lastClr="FFFFFF"/>
      </a:lt1>
      <a:dk2>
        <a:srgbClr val="D22630"/>
      </a:dk2>
      <a:lt2>
        <a:srgbClr val="FFD200"/>
      </a:lt2>
      <a:accent1>
        <a:srgbClr val="0090D7"/>
      </a:accent1>
      <a:accent2>
        <a:srgbClr val="004F76"/>
      </a:accent2>
      <a:accent3>
        <a:srgbClr val="7EC9F1"/>
      </a:accent3>
      <a:accent4>
        <a:srgbClr val="777777"/>
      </a:accent4>
      <a:accent5>
        <a:srgbClr val="4A4A4A"/>
      </a:accent5>
      <a:accent6>
        <a:srgbClr val="B8B8B8"/>
      </a:accent6>
      <a:hlink>
        <a:srgbClr val="000000"/>
      </a:hlink>
      <a:folHlink>
        <a:srgbClr val="000000"/>
      </a:folHlink>
    </a:clrScheme>
    <a:fontScheme name="SKODA Next">
      <a:majorFont>
        <a:latin typeface="SKODA Next"/>
        <a:ea typeface=""/>
        <a:cs typeface=""/>
      </a:majorFont>
      <a:minorFont>
        <a:latin typeface="SKODA Next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BLUE">
        <a:dk1>
          <a:sysClr val="windowText" lastClr="000000"/>
        </a:dk1>
        <a:lt1>
          <a:sysClr val="window" lastClr="FFFFFF"/>
        </a:lt1>
        <a:dk2>
          <a:srgbClr val="D22630"/>
        </a:dk2>
        <a:lt2>
          <a:srgbClr val="FFD200"/>
        </a:lt2>
        <a:accent1>
          <a:srgbClr val="0090D7"/>
        </a:accent1>
        <a:accent2>
          <a:srgbClr val="004F76"/>
        </a:accent2>
        <a:accent3>
          <a:srgbClr val="7EC9F1"/>
        </a:accent3>
        <a:accent4>
          <a:srgbClr val="777777"/>
        </a:accent4>
        <a:accent5>
          <a:srgbClr val="4A4A4A"/>
        </a:accent5>
        <a:accent6>
          <a:srgbClr val="004F76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ŠKODA Green">
      <a:srgbClr val="4BA82E"/>
    </a:custClr>
    <a:custClr name="ŠKODA Chrome Grey">
      <a:srgbClr val="A7AEB4"/>
    </a:custClr>
    <a:custClr name="Warm Grey 1">
      <a:srgbClr val="E0DED8"/>
    </a:custClr>
    <a:custClr name="Warm Grey 2">
      <a:srgbClr val="D5D2CA"/>
    </a:custClr>
    <a:custClr name="Warm Grey 3">
      <a:srgbClr val="C7C2BA"/>
    </a:custClr>
    <a:custClr name="Cool Grey 1">
      <a:srgbClr val="E0E1DD"/>
    </a:custClr>
    <a:custClr name="Cool Grey 2">
      <a:srgbClr val="D5D6D2"/>
    </a:custClr>
    <a:custClr name="Cool Grey 3">
      <a:srgbClr val="C9CAC8"/>
    </a:custClr>
  </a:custClrLst>
  <a:extLst>
    <a:ext uri="{05A4C25C-085E-4340-85A3-A5531E510DB2}">
      <thm15:themeFamily xmlns:thm15="http://schemas.microsoft.com/office/thememl/2012/main" name="SKODA_Sablona_Na_sirku-SKODA_Next_B.potx" id="{1546329A-B451-405E-80E8-ED351D8D999A}" vid="{50AA65BF-6706-473E-950C-15C019C2E25A}"/>
    </a:ext>
  </a:extLst>
</a:theme>
</file>

<file path=ppt/theme/theme3.xml><?xml version="1.0" encoding="utf-8"?>
<a:theme xmlns:a="http://schemas.openxmlformats.org/drawingml/2006/main" name="ŠKODA A4 Landscape RED">
  <a:themeElements>
    <a:clrScheme name="ŠKODA RED">
      <a:dk1>
        <a:sysClr val="windowText" lastClr="000000"/>
      </a:dk1>
      <a:lt1>
        <a:sysClr val="window" lastClr="FFFFFF"/>
      </a:lt1>
      <a:dk2>
        <a:srgbClr val="D22630"/>
      </a:dk2>
      <a:lt2>
        <a:srgbClr val="FFD200"/>
      </a:lt2>
      <a:accent1>
        <a:srgbClr val="E62336"/>
      </a:accent1>
      <a:accent2>
        <a:srgbClr val="B00835"/>
      </a:accent2>
      <a:accent3>
        <a:srgbClr val="EA5167"/>
      </a:accent3>
      <a:accent4>
        <a:srgbClr val="E5D1A2"/>
      </a:accent4>
      <a:accent5>
        <a:srgbClr val="878787"/>
      </a:accent5>
      <a:accent6>
        <a:srgbClr val="CECECE"/>
      </a:accent6>
      <a:hlink>
        <a:srgbClr val="000000"/>
      </a:hlink>
      <a:folHlink>
        <a:srgbClr val="000000"/>
      </a:folHlink>
    </a:clrScheme>
    <a:fontScheme name="SKODA Next">
      <a:majorFont>
        <a:latin typeface="SKODA Next"/>
        <a:ea typeface=""/>
        <a:cs typeface=""/>
      </a:majorFont>
      <a:minorFont>
        <a:latin typeface="SKODA Next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RED">
        <a:dk1>
          <a:sysClr val="windowText" lastClr="000000"/>
        </a:dk1>
        <a:lt1>
          <a:sysClr val="window" lastClr="FFFFFF"/>
        </a:lt1>
        <a:dk2>
          <a:srgbClr val="D22630"/>
        </a:dk2>
        <a:lt2>
          <a:srgbClr val="FFD200"/>
        </a:lt2>
        <a:accent1>
          <a:srgbClr val="E62336"/>
        </a:accent1>
        <a:accent2>
          <a:srgbClr val="B00835"/>
        </a:accent2>
        <a:accent3>
          <a:srgbClr val="EA5167"/>
        </a:accent3>
        <a:accent4>
          <a:srgbClr val="E5D1A2"/>
        </a:accent4>
        <a:accent5>
          <a:srgbClr val="878787"/>
        </a:accent5>
        <a:accent6>
          <a:srgbClr val="CECECE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ŠKODA Green">
      <a:srgbClr val="4BA82E"/>
    </a:custClr>
    <a:custClr name="ŠKODA Chrome Grey">
      <a:srgbClr val="A7AEB4"/>
    </a:custClr>
    <a:custClr name="Warm Grey 1">
      <a:srgbClr val="E0DED8"/>
    </a:custClr>
    <a:custClr name="Warm Grey 2">
      <a:srgbClr val="D5D2CA"/>
    </a:custClr>
    <a:custClr name="Warm Grey 3">
      <a:srgbClr val="C7C2BA"/>
    </a:custClr>
    <a:custClr name="Cool Grey 1">
      <a:srgbClr val="E0E1DD"/>
    </a:custClr>
    <a:custClr name="Cool Grey 2">
      <a:srgbClr val="D5D6D2"/>
    </a:custClr>
    <a:custClr name="Cool Grey 3">
      <a:srgbClr val="C9CAC8"/>
    </a:custClr>
  </a:custClrLst>
  <a:extLst>
    <a:ext uri="{05A4C25C-085E-4340-85A3-A5531E510DB2}">
      <thm15:themeFamily xmlns:thm15="http://schemas.microsoft.com/office/thememl/2012/main" name="SKODA_Sablona_Na_sirku-SKODA_Next_B.potx" id="{1546329A-B451-405E-80E8-ED351D8D999A}" vid="{02E8CB0F-18E1-494A-84B7-3E01E5CC6622}"/>
    </a:ext>
  </a:extLst>
</a:theme>
</file>

<file path=ppt/theme/theme4.xml><?xml version="1.0" encoding="utf-8"?>
<a:theme xmlns:a="http://schemas.openxmlformats.org/drawingml/2006/main" name="ŠKODA A4 Landscape YELLOW">
  <a:themeElements>
    <a:clrScheme name="ŠKODA YELLOW">
      <a:dk1>
        <a:sysClr val="windowText" lastClr="000000"/>
      </a:dk1>
      <a:lt1>
        <a:sysClr val="window" lastClr="FFFFFF"/>
      </a:lt1>
      <a:dk2>
        <a:srgbClr val="D22630"/>
      </a:dk2>
      <a:lt2>
        <a:srgbClr val="FFD200"/>
      </a:lt2>
      <a:accent1>
        <a:srgbClr val="D3DA44"/>
      </a:accent1>
      <a:accent2>
        <a:srgbClr val="A2C617"/>
      </a:accent2>
      <a:accent3>
        <a:srgbClr val="FFDF43"/>
      </a:accent3>
      <a:accent4>
        <a:srgbClr val="FFF374"/>
      </a:accent4>
      <a:accent5>
        <a:srgbClr val="9D9D9D"/>
      </a:accent5>
      <a:accent6>
        <a:srgbClr val="B2B2B2"/>
      </a:accent6>
      <a:hlink>
        <a:srgbClr val="000000"/>
      </a:hlink>
      <a:folHlink>
        <a:srgbClr val="000000"/>
      </a:folHlink>
    </a:clrScheme>
    <a:fontScheme name="SKODA Next">
      <a:majorFont>
        <a:latin typeface="SKODA Next"/>
        <a:ea typeface=""/>
        <a:cs typeface=""/>
      </a:majorFont>
      <a:minorFont>
        <a:latin typeface="SKODA Next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YELLOW">
        <a:dk1>
          <a:sysClr val="windowText" lastClr="000000"/>
        </a:dk1>
        <a:lt1>
          <a:sysClr val="window" lastClr="FFFFFF"/>
        </a:lt1>
        <a:dk2>
          <a:srgbClr val="D22630"/>
        </a:dk2>
        <a:lt2>
          <a:srgbClr val="FFD200"/>
        </a:lt2>
        <a:accent1>
          <a:srgbClr val="D3DA44"/>
        </a:accent1>
        <a:accent2>
          <a:srgbClr val="A2C617"/>
        </a:accent2>
        <a:accent3>
          <a:srgbClr val="FFDF43"/>
        </a:accent3>
        <a:accent4>
          <a:srgbClr val="FFF374"/>
        </a:accent4>
        <a:accent5>
          <a:srgbClr val="9D9D9D"/>
        </a:accent5>
        <a:accent6>
          <a:srgbClr val="B2B2B2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ŠKODA Green">
      <a:srgbClr val="4BA82E"/>
    </a:custClr>
    <a:custClr name="ŠKODA Chrome Grey">
      <a:srgbClr val="A7AEB4"/>
    </a:custClr>
    <a:custClr name="Warm Grey 1">
      <a:srgbClr val="E0DED8"/>
    </a:custClr>
    <a:custClr name="Warm Grey 2">
      <a:srgbClr val="D5D2CA"/>
    </a:custClr>
    <a:custClr name="Warm Grey 3">
      <a:srgbClr val="C7C2BA"/>
    </a:custClr>
    <a:custClr name="Cool Grey 1">
      <a:srgbClr val="E0E1DD"/>
    </a:custClr>
    <a:custClr name="Cool Grey 2">
      <a:srgbClr val="D5D6D2"/>
    </a:custClr>
    <a:custClr name="Cool Grey 3">
      <a:srgbClr val="C9CAC8"/>
    </a:custClr>
  </a:custClrLst>
  <a:extLst>
    <a:ext uri="{05A4C25C-085E-4340-85A3-A5531E510DB2}">
      <thm15:themeFamily xmlns:thm15="http://schemas.microsoft.com/office/thememl/2012/main" name="SKODA_Sablona_Na_sirku-SKODA_Next_B.potx" id="{1546329A-B451-405E-80E8-ED351D8D999A}" vid="{F162132D-C9BF-4EB7-A17D-1CE997F239E4}"/>
    </a:ext>
  </a:extLst>
</a:theme>
</file>

<file path=ppt/theme/theme5.xml><?xml version="1.0" encoding="utf-8"?>
<a:theme xmlns:a="http://schemas.openxmlformats.org/drawingml/2006/main" name="ŠKODA A4 Landscape TURQUOIS">
  <a:themeElements>
    <a:clrScheme name="ŠKODA TURQUOIS">
      <a:dk1>
        <a:sysClr val="windowText" lastClr="000000"/>
      </a:dk1>
      <a:lt1>
        <a:sysClr val="window" lastClr="FFFFFF"/>
      </a:lt1>
      <a:dk2>
        <a:srgbClr val="D22630"/>
      </a:dk2>
      <a:lt2>
        <a:srgbClr val="FFD200"/>
      </a:lt2>
      <a:accent1>
        <a:srgbClr val="15AF97"/>
      </a:accent1>
      <a:accent2>
        <a:srgbClr val="008A83"/>
      </a:accent2>
      <a:accent3>
        <a:srgbClr val="76B4AF"/>
      </a:accent3>
      <a:accent4>
        <a:srgbClr val="74A3A1"/>
      </a:accent4>
      <a:accent5>
        <a:srgbClr val="706F6F"/>
      </a:accent5>
      <a:accent6>
        <a:srgbClr val="B2B2B2"/>
      </a:accent6>
      <a:hlink>
        <a:srgbClr val="000000"/>
      </a:hlink>
      <a:folHlink>
        <a:srgbClr val="000000"/>
      </a:folHlink>
    </a:clrScheme>
    <a:fontScheme name="SKODA Next">
      <a:majorFont>
        <a:latin typeface="SKODA Next"/>
        <a:ea typeface=""/>
        <a:cs typeface=""/>
      </a:majorFont>
      <a:minorFont>
        <a:latin typeface="SKODA Next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TURQUOIS">
        <a:dk1>
          <a:sysClr val="windowText" lastClr="000000"/>
        </a:dk1>
        <a:lt1>
          <a:sysClr val="window" lastClr="FFFFFF"/>
        </a:lt1>
        <a:dk2>
          <a:srgbClr val="D22630"/>
        </a:dk2>
        <a:lt2>
          <a:srgbClr val="FFD200"/>
        </a:lt2>
        <a:accent1>
          <a:srgbClr val="15AF97"/>
        </a:accent1>
        <a:accent2>
          <a:srgbClr val="008A83"/>
        </a:accent2>
        <a:accent3>
          <a:srgbClr val="76B4AF"/>
        </a:accent3>
        <a:accent4>
          <a:srgbClr val="74A3A1"/>
        </a:accent4>
        <a:accent5>
          <a:srgbClr val="706F6F"/>
        </a:accent5>
        <a:accent6>
          <a:srgbClr val="B2B2B2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ŠKODA Green">
      <a:srgbClr val="4BA82E"/>
    </a:custClr>
    <a:custClr name="ŠKODA Chrome Grey">
      <a:srgbClr val="A7AEB4"/>
    </a:custClr>
    <a:custClr name="Warm Grey 1">
      <a:srgbClr val="E0DED8"/>
    </a:custClr>
    <a:custClr name="Warm Grey 2">
      <a:srgbClr val="D5D2CA"/>
    </a:custClr>
    <a:custClr name="Warm Grey 3">
      <a:srgbClr val="C7C2BA"/>
    </a:custClr>
    <a:custClr name="Cool Grey 1">
      <a:srgbClr val="E0E1DD"/>
    </a:custClr>
    <a:custClr name="Cool Grey 2">
      <a:srgbClr val="D5D6D2"/>
    </a:custClr>
    <a:custClr name="Cool Grey 3">
      <a:srgbClr val="C9CAC8"/>
    </a:custClr>
  </a:custClrLst>
  <a:extLst>
    <a:ext uri="{05A4C25C-085E-4340-85A3-A5531E510DB2}">
      <thm15:themeFamily xmlns:thm15="http://schemas.microsoft.com/office/thememl/2012/main" name="SKODA_Sablona_Na_sirku-SKODA_Next_B.potx" id="{1546329A-B451-405E-80E8-ED351D8D999A}" vid="{F561B771-4730-4117-80D4-26D65244396D}"/>
    </a:ext>
  </a:extLst>
</a:theme>
</file>

<file path=ppt/theme/theme6.xml><?xml version="1.0" encoding="utf-8"?>
<a:theme xmlns:a="http://schemas.openxmlformats.org/drawingml/2006/main" name="Motiv sady Office">
  <a:themeElements>
    <a:clrScheme name="ŠKODA CI">
      <a:dk1>
        <a:sysClr val="windowText" lastClr="000000"/>
      </a:dk1>
      <a:lt1>
        <a:sysClr val="window" lastClr="FFFFFF"/>
      </a:lt1>
      <a:dk2>
        <a:srgbClr val="D22630"/>
      </a:dk2>
      <a:lt2>
        <a:srgbClr val="FFD200"/>
      </a:lt2>
      <a:accent1>
        <a:srgbClr val="DCDCDC"/>
      </a:accent1>
      <a:accent2>
        <a:srgbClr val="BEBEBE"/>
      </a:accent2>
      <a:accent3>
        <a:srgbClr val="6E6E6E"/>
      </a:accent3>
      <a:accent4>
        <a:srgbClr val="DBEED5"/>
      </a:accent4>
      <a:accent5>
        <a:srgbClr val="81C26D"/>
      </a:accent5>
      <a:accent6>
        <a:srgbClr val="4BA82E"/>
      </a:accent6>
      <a:hlink>
        <a:srgbClr val="000000"/>
      </a:hlink>
      <a:folHlink>
        <a:srgbClr val="000000"/>
      </a:folHlink>
    </a:clrScheme>
    <a:fontScheme name="SKODA Next">
      <a:majorFont>
        <a:latin typeface="SKODA Next"/>
        <a:ea typeface=""/>
        <a:cs typeface=""/>
      </a:majorFont>
      <a:minorFont>
        <a:latin typeface="SKODA Next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CI">
        <a:dk1>
          <a:sysClr val="windowText" lastClr="000000"/>
        </a:dk1>
        <a:lt1>
          <a:sysClr val="window" lastClr="FFFFFF"/>
        </a:lt1>
        <a:dk2>
          <a:srgbClr val="D22630"/>
        </a:dk2>
        <a:lt2>
          <a:srgbClr val="FFD200"/>
        </a:lt2>
        <a:accent1>
          <a:srgbClr val="DCDCDC"/>
        </a:accent1>
        <a:accent2>
          <a:srgbClr val="BEBEBE"/>
        </a:accent2>
        <a:accent3>
          <a:srgbClr val="6E6E6E"/>
        </a:accent3>
        <a:accent4>
          <a:srgbClr val="DBEED5"/>
        </a:accent4>
        <a:accent5>
          <a:srgbClr val="81C26D"/>
        </a:accent5>
        <a:accent6>
          <a:srgbClr val="4BA82E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ŠKODA Green">
      <a:srgbClr val="4BA82E"/>
    </a:custClr>
    <a:custClr name="ŠKODA Chrome Grey">
      <a:srgbClr val="A7AEB4"/>
    </a:custClr>
    <a:custClr name="Warm Grey 1">
      <a:srgbClr val="E0DED8"/>
    </a:custClr>
    <a:custClr name="Warm Grey 2">
      <a:srgbClr val="D5D2CA"/>
    </a:custClr>
    <a:custClr name="Warm Grey 3">
      <a:srgbClr val="C7C2BA"/>
    </a:custClr>
    <a:custClr name="Cool Grey 1">
      <a:srgbClr val="E0E1DD"/>
    </a:custClr>
    <a:custClr name="Cool Grey 2">
      <a:srgbClr val="D5D6D2"/>
    </a:custClr>
    <a:custClr name="Cool Grey 3">
      <a:srgbClr val="C9CAC8"/>
    </a:custClr>
  </a:custClrLst>
</a:theme>
</file>

<file path=ppt/theme/theme7.xml><?xml version="1.0" encoding="utf-8"?>
<a:theme xmlns:a="http://schemas.openxmlformats.org/drawingml/2006/main" name="Motiv sady Office">
  <a:themeElements>
    <a:clrScheme name="ŠKODA CI">
      <a:dk1>
        <a:sysClr val="windowText" lastClr="000000"/>
      </a:dk1>
      <a:lt1>
        <a:sysClr val="window" lastClr="FFFFFF"/>
      </a:lt1>
      <a:dk2>
        <a:srgbClr val="D22630"/>
      </a:dk2>
      <a:lt2>
        <a:srgbClr val="FFD200"/>
      </a:lt2>
      <a:accent1>
        <a:srgbClr val="DCDCDC"/>
      </a:accent1>
      <a:accent2>
        <a:srgbClr val="BEBEBE"/>
      </a:accent2>
      <a:accent3>
        <a:srgbClr val="6E6E6E"/>
      </a:accent3>
      <a:accent4>
        <a:srgbClr val="DBEED5"/>
      </a:accent4>
      <a:accent5>
        <a:srgbClr val="81C26D"/>
      </a:accent5>
      <a:accent6>
        <a:srgbClr val="4BA82E"/>
      </a:accent6>
      <a:hlink>
        <a:srgbClr val="000000"/>
      </a:hlink>
      <a:folHlink>
        <a:srgbClr val="000000"/>
      </a:folHlink>
    </a:clrScheme>
    <a:fontScheme name="SKODA Next">
      <a:majorFont>
        <a:latin typeface="SKODA Next"/>
        <a:ea typeface=""/>
        <a:cs typeface=""/>
      </a:majorFont>
      <a:minorFont>
        <a:latin typeface="SKODA Next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CI">
        <a:dk1>
          <a:sysClr val="windowText" lastClr="000000"/>
        </a:dk1>
        <a:lt1>
          <a:sysClr val="window" lastClr="FFFFFF"/>
        </a:lt1>
        <a:dk2>
          <a:srgbClr val="D22630"/>
        </a:dk2>
        <a:lt2>
          <a:srgbClr val="FFD200"/>
        </a:lt2>
        <a:accent1>
          <a:srgbClr val="DCDCDC"/>
        </a:accent1>
        <a:accent2>
          <a:srgbClr val="BEBEBE"/>
        </a:accent2>
        <a:accent3>
          <a:srgbClr val="6E6E6E"/>
        </a:accent3>
        <a:accent4>
          <a:srgbClr val="DBEED5"/>
        </a:accent4>
        <a:accent5>
          <a:srgbClr val="81C26D"/>
        </a:accent5>
        <a:accent6>
          <a:srgbClr val="4BA82E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ŠKODA Green">
      <a:srgbClr val="4BA82E"/>
    </a:custClr>
    <a:custClr name="ŠKODA Chrome Grey">
      <a:srgbClr val="A7AEB4"/>
    </a:custClr>
    <a:custClr name="Warm Grey 1">
      <a:srgbClr val="E0DED8"/>
    </a:custClr>
    <a:custClr name="Warm Grey 2">
      <a:srgbClr val="D5D2CA"/>
    </a:custClr>
    <a:custClr name="Warm Grey 3">
      <a:srgbClr val="C7C2BA"/>
    </a:custClr>
    <a:custClr name="Cool Grey 1">
      <a:srgbClr val="E0E1DD"/>
    </a:custClr>
    <a:custClr name="Cool Grey 2">
      <a:srgbClr val="D5D6D2"/>
    </a:custClr>
    <a:custClr name="Cool Grey 3">
      <a:srgbClr val="C9CAC8"/>
    </a:custClr>
  </a:custClr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KODA_Next_Na_sirku</Template>
  <TotalTime>169</TotalTime>
  <Words>16</Words>
  <Application>Microsoft Office PowerPoint</Application>
  <PresentationFormat>Vlastná</PresentationFormat>
  <Paragraphs>6</Paragraphs>
  <Slides>2</Slides>
  <Notes>1</Notes>
  <HiddenSlides>0</HiddenSlides>
  <MMClips>0</MMClips>
  <ScaleCrop>false</ScaleCrop>
  <HeadingPairs>
    <vt:vector size="8" baseType="variant">
      <vt:variant>
        <vt:lpstr>Použité písma</vt:lpstr>
      </vt:variant>
      <vt:variant>
        <vt:i4>3</vt:i4>
      </vt:variant>
      <vt:variant>
        <vt:lpstr>Motív</vt:lpstr>
      </vt:variant>
      <vt:variant>
        <vt:i4>5</vt:i4>
      </vt:variant>
      <vt:variant>
        <vt:lpstr>Vložené servery OLE</vt:lpstr>
      </vt:variant>
      <vt:variant>
        <vt:i4>1</vt:i4>
      </vt:variant>
      <vt:variant>
        <vt:lpstr>Nadpisy snímok</vt:lpstr>
      </vt:variant>
      <vt:variant>
        <vt:i4>2</vt:i4>
      </vt:variant>
    </vt:vector>
  </HeadingPairs>
  <TitlesOfParts>
    <vt:vector size="11" baseType="lpstr">
      <vt:lpstr>Arial</vt:lpstr>
      <vt:lpstr>SKODA Next</vt:lpstr>
      <vt:lpstr>Wingdings</vt:lpstr>
      <vt:lpstr>ŠKODA A4 Landscape CI</vt:lpstr>
      <vt:lpstr>ŠKODA A4 Landscape BLUE</vt:lpstr>
      <vt:lpstr>ŠKODA A4 Landscape RED</vt:lpstr>
      <vt:lpstr>ŠKODA A4 Landscape YELLOW</vt:lpstr>
      <vt:lpstr>ŠKODA A4 Landscape TURQUOIS</vt:lpstr>
      <vt:lpstr>think-cell Slide</vt:lpstr>
      <vt:lpstr>ŠKODA – vYsádzanie stromčekov</vt:lpstr>
      <vt:lpstr>Výstupy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ŠKODA SCALA</dc:title>
  <dc:creator>Rusnakova, Karina (SAS V)</dc:creator>
  <cp:lastModifiedBy>Lubomir Sulko</cp:lastModifiedBy>
  <cp:revision>26</cp:revision>
  <dcterms:created xsi:type="dcterms:W3CDTF">2019-01-24T12:41:08Z</dcterms:created>
  <dcterms:modified xsi:type="dcterms:W3CDTF">2019-12-27T09:50:14Z</dcterms:modified>
</cp:coreProperties>
</file>